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theme/theme3.xml" ContentType="application/vnd.openxmlformats-officedocument.theme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8715" r:id="rId1"/>
    <p:sldMasterId id="2147488351" r:id="rId2"/>
    <p:sldMasterId id="2147483676" r:id="rId3"/>
    <p:sldMasterId id="2147483684" r:id="rId4"/>
  </p:sldMasterIdLst>
  <p:notesMasterIdLst>
    <p:notesMasterId r:id="rId54"/>
  </p:notesMasterIdLst>
  <p:sldIdLst>
    <p:sldId id="280" r:id="rId5"/>
    <p:sldId id="968" r:id="rId6"/>
    <p:sldId id="1054" r:id="rId7"/>
    <p:sldId id="1009" r:id="rId8"/>
    <p:sldId id="1053" r:id="rId9"/>
    <p:sldId id="1050" r:id="rId10"/>
    <p:sldId id="264" r:id="rId11"/>
    <p:sldId id="271" r:id="rId12"/>
    <p:sldId id="273" r:id="rId13"/>
    <p:sldId id="267" r:id="rId14"/>
    <p:sldId id="1051" r:id="rId15"/>
    <p:sldId id="1052" r:id="rId16"/>
    <p:sldId id="998" r:id="rId17"/>
    <p:sldId id="878" r:id="rId18"/>
    <p:sldId id="880" r:id="rId19"/>
    <p:sldId id="737" r:id="rId20"/>
    <p:sldId id="858" r:id="rId21"/>
    <p:sldId id="999" r:id="rId22"/>
    <p:sldId id="1029" r:id="rId23"/>
    <p:sldId id="1030" r:id="rId24"/>
    <p:sldId id="1032" r:id="rId25"/>
    <p:sldId id="1033" r:id="rId26"/>
    <p:sldId id="1055" r:id="rId27"/>
    <p:sldId id="1056" r:id="rId28"/>
    <p:sldId id="1057" r:id="rId29"/>
    <p:sldId id="1058" r:id="rId30"/>
    <p:sldId id="1059" r:id="rId31"/>
    <p:sldId id="1035" r:id="rId32"/>
    <p:sldId id="1019" r:id="rId33"/>
    <p:sldId id="1061" r:id="rId34"/>
    <p:sldId id="1062" r:id="rId35"/>
    <p:sldId id="1063" r:id="rId36"/>
    <p:sldId id="1060" r:id="rId37"/>
    <p:sldId id="1064" r:id="rId38"/>
    <p:sldId id="1065" r:id="rId39"/>
    <p:sldId id="1066" r:id="rId40"/>
    <p:sldId id="1046" r:id="rId41"/>
    <p:sldId id="315" r:id="rId42"/>
    <p:sldId id="336" r:id="rId43"/>
    <p:sldId id="344" r:id="rId44"/>
    <p:sldId id="339" r:id="rId45"/>
    <p:sldId id="341" r:id="rId46"/>
    <p:sldId id="340" r:id="rId47"/>
    <p:sldId id="342" r:id="rId48"/>
    <p:sldId id="328" r:id="rId49"/>
    <p:sldId id="1067" r:id="rId50"/>
    <p:sldId id="1025" r:id="rId51"/>
    <p:sldId id="832" r:id="rId52"/>
    <p:sldId id="955" r:id="rId5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0938F0B-76AB-47BC-92B5-E6A52BFA8CA3}">
          <p14:sldIdLst>
            <p14:sldId id="280"/>
            <p14:sldId id="968"/>
            <p14:sldId id="1054"/>
            <p14:sldId id="1009"/>
            <p14:sldId id="1053"/>
            <p14:sldId id="1050"/>
            <p14:sldId id="264"/>
            <p14:sldId id="271"/>
            <p14:sldId id="273"/>
            <p14:sldId id="267"/>
            <p14:sldId id="1051"/>
            <p14:sldId id="1052"/>
            <p14:sldId id="998"/>
            <p14:sldId id="878"/>
            <p14:sldId id="880"/>
            <p14:sldId id="737"/>
            <p14:sldId id="858"/>
            <p14:sldId id="999"/>
            <p14:sldId id="1029"/>
            <p14:sldId id="1030"/>
            <p14:sldId id="1032"/>
            <p14:sldId id="1033"/>
            <p14:sldId id="1055"/>
            <p14:sldId id="1056"/>
            <p14:sldId id="1057"/>
            <p14:sldId id="1058"/>
            <p14:sldId id="1059"/>
            <p14:sldId id="1035"/>
            <p14:sldId id="1019"/>
            <p14:sldId id="1061"/>
            <p14:sldId id="1062"/>
            <p14:sldId id="1063"/>
            <p14:sldId id="1060"/>
            <p14:sldId id="1064"/>
            <p14:sldId id="1065"/>
            <p14:sldId id="1066"/>
            <p14:sldId id="1046"/>
          </p14:sldIdLst>
        </p14:section>
        <p14:section name="Edward Hospital" id="{3213AC31-4BC4-48CB-B335-6E49467CFDCB}">
          <p14:sldIdLst>
            <p14:sldId id="315"/>
            <p14:sldId id="336"/>
            <p14:sldId id="344"/>
            <p14:sldId id="339"/>
            <p14:sldId id="341"/>
            <p14:sldId id="340"/>
            <p14:sldId id="342"/>
            <p14:sldId id="328"/>
          </p14:sldIdLst>
        </p14:section>
        <p14:section name="End" id="{B80C2D61-7F22-4D31-B172-1BF12CFF40C0}">
          <p14:sldIdLst>
            <p14:sldId id="1067"/>
            <p14:sldId id="1025"/>
            <p14:sldId id="832"/>
            <p14:sldId id="95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BCA7BFC-F11C-3E9E-95B3-FA7A4B2C0B61}" name="Kiela Karina Moreno" initials="KM" userId="S::mpg7143@ads.northwestern.edu::1e897b35-0dd4-497a-9ab7-7a37e6c39d5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BF1AC"/>
    <a:srgbClr val="DEF0FF"/>
    <a:srgbClr val="FAF9F8"/>
    <a:srgbClr val="FBFB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86703E4-7E4A-146E-7442-08D7D212493A}" v="41" dt="2024-09-16T18:03:39.980"/>
    <p1510:client id="{4C360C7E-7425-FA38-A359-73314043D5BF}" v="4" dt="2024-09-16T17:40:14.947"/>
    <p1510:client id="{88874A20-CE21-1783-C343-BB70FE2CD154}" v="35" dt="2024-09-16T18:09:08.867"/>
    <p1510:client id="{D8533344-B486-F247-433D-A329F46CB5BC}" v="729" dt="2024-09-16T16:25:38.24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43"/>
  </p:normalViewPr>
  <p:slideViewPr>
    <p:cSldViewPr snapToGrid="0">
      <p:cViewPr varScale="1">
        <p:scale>
          <a:sx n="100" d="100"/>
          <a:sy n="100" d="100"/>
        </p:scale>
        <p:origin x="100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presProps" Target="presProps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tableStyles" Target="tableStyles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viewProps" Target="viewProp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microsoft.com/office/2015/10/relationships/revisionInfo" Target="revisionInfo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theme" Target="theme/theme1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microsoft.com/office/2018/10/relationships/authors" Target="authors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hyperlink" Target="https://redcap.healthlnk.org/surveys/?s=TH3WNALRRE9A3EDC" TargetMode="External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hyperlink" Target="https://redcap.healthlnk.org/surveys/?s=TH3WNALRRE9A3EDC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2CED47C-38E7-467C-8A1C-1BD722891462}" type="doc">
      <dgm:prSet loTypeId="urn:microsoft.com/office/officeart/2005/8/layout/list1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DF8C36AC-D358-44C1-8CCF-864E48E9EE34}">
      <dgm:prSet phldrT="[Text]" phldr="0"/>
      <dgm:spPr/>
      <dgm:t>
        <a:bodyPr/>
        <a:lstStyle/>
        <a:p>
          <a:pPr rtl="0"/>
          <a:r>
            <a:rPr lang="en-US" dirty="0">
              <a:latin typeface="Aptos Display"/>
            </a:rPr>
            <a:t> </a:t>
          </a:r>
          <a:r>
            <a:rPr lang="en-US" b="1" dirty="0">
              <a:solidFill>
                <a:schemeClr val="tx1"/>
              </a:solidFill>
              <a:latin typeface="Aptos Display"/>
            </a:rPr>
            <a:t>Submit your Data! </a:t>
          </a:r>
        </a:p>
      </dgm:t>
    </dgm:pt>
    <dgm:pt modelId="{77454E31-4BF7-45E4-A61C-C06BAD198ECF}" type="parTrans" cxnId="{F1C85135-8472-433E-98BE-532497A42780}">
      <dgm:prSet/>
      <dgm:spPr/>
      <dgm:t>
        <a:bodyPr/>
        <a:lstStyle/>
        <a:p>
          <a:endParaRPr lang="en-US"/>
        </a:p>
      </dgm:t>
    </dgm:pt>
    <dgm:pt modelId="{62C93ADB-50F5-4FEA-A9D2-CBD05A488FB7}" type="sibTrans" cxnId="{F1C85135-8472-433E-98BE-532497A42780}">
      <dgm:prSet/>
      <dgm:spPr/>
      <dgm:t>
        <a:bodyPr/>
        <a:lstStyle/>
        <a:p>
          <a:endParaRPr lang="en-US"/>
        </a:p>
      </dgm:t>
    </dgm:pt>
    <dgm:pt modelId="{277CB91B-1C42-48E8-9BA7-10FC79E64F8E}">
      <dgm:prSet phldrT="[Text]" phldr="0"/>
      <dgm:spPr/>
      <dgm:t>
        <a:bodyPr/>
        <a:lstStyle/>
        <a:p>
          <a:pPr rtl="0"/>
          <a:r>
            <a:rPr lang="en-US" b="1" dirty="0">
              <a:solidFill>
                <a:schemeClr val="tx1"/>
              </a:solidFill>
              <a:latin typeface="Aptos Display"/>
            </a:rPr>
            <a:t>Call for QI Abstracts! </a:t>
          </a:r>
        </a:p>
      </dgm:t>
    </dgm:pt>
    <dgm:pt modelId="{03D7C569-4529-4991-A0C2-8E79BCD76571}" type="parTrans" cxnId="{DBC449FF-D23E-4F26-BCA7-82B94996073D}">
      <dgm:prSet/>
      <dgm:spPr/>
      <dgm:t>
        <a:bodyPr/>
        <a:lstStyle/>
        <a:p>
          <a:endParaRPr lang="en-US"/>
        </a:p>
      </dgm:t>
    </dgm:pt>
    <dgm:pt modelId="{93624452-662B-4F58-934A-EBE2E5B0D4AB}" type="sibTrans" cxnId="{DBC449FF-D23E-4F26-BCA7-82B94996073D}">
      <dgm:prSet/>
      <dgm:spPr/>
      <dgm:t>
        <a:bodyPr/>
        <a:lstStyle/>
        <a:p>
          <a:endParaRPr lang="en-US"/>
        </a:p>
      </dgm:t>
    </dgm:pt>
    <dgm:pt modelId="{78D4CC8F-2595-4059-ACA1-7005FE483A37}">
      <dgm:prSet phldrT="[Text]" phldr="0"/>
      <dgm:spPr/>
      <dgm:t>
        <a:bodyPr/>
        <a:lstStyle/>
        <a:p>
          <a:pPr rtl="0"/>
          <a:r>
            <a:rPr lang="en-US" dirty="0">
              <a:latin typeface="Aptos Display"/>
            </a:rPr>
            <a:t>All hospital teams are asked to submit an abstract on their QI work (can be in progress).</a:t>
          </a:r>
        </a:p>
      </dgm:t>
    </dgm:pt>
    <dgm:pt modelId="{A251C99C-8B3D-40DF-81A9-D7542C43875E}" type="parTrans" cxnId="{4FCE7C92-D06E-417F-8E44-A664565D79CE}">
      <dgm:prSet/>
      <dgm:spPr/>
      <dgm:t>
        <a:bodyPr/>
        <a:lstStyle/>
        <a:p>
          <a:endParaRPr lang="en-US"/>
        </a:p>
      </dgm:t>
    </dgm:pt>
    <dgm:pt modelId="{881FC4F4-45E5-4ACC-B91A-47999364CD20}" type="sibTrans" cxnId="{4FCE7C92-D06E-417F-8E44-A664565D79CE}">
      <dgm:prSet/>
      <dgm:spPr/>
      <dgm:t>
        <a:bodyPr/>
        <a:lstStyle/>
        <a:p>
          <a:endParaRPr lang="en-US"/>
        </a:p>
      </dgm:t>
    </dgm:pt>
    <dgm:pt modelId="{6F528CE6-C1A3-4D2B-81A0-CFCEB0EBAD90}">
      <dgm:prSet phldr="0"/>
      <dgm:spPr/>
      <dgm:t>
        <a:bodyPr/>
        <a:lstStyle/>
        <a:p>
          <a:pPr rtl="0"/>
          <a:r>
            <a:rPr lang="en-US" b="1" u="none" dirty="0">
              <a:solidFill>
                <a:schemeClr val="tx1"/>
              </a:solidFill>
              <a:latin typeface="Aptos Display"/>
            </a:rPr>
            <a:t>ILPQC Annual Conference </a:t>
          </a:r>
          <a:r>
            <a:rPr lang="en-US" b="1" dirty="0">
              <a:solidFill>
                <a:schemeClr val="tx1"/>
              </a:solidFill>
              <a:latin typeface="Aptos Display"/>
            </a:rPr>
            <a:t>Survey! </a:t>
          </a:r>
        </a:p>
      </dgm:t>
    </dgm:pt>
    <dgm:pt modelId="{62346CA0-5B88-4CE8-914A-B6CEB57871F1}" type="parTrans" cxnId="{B6080AEF-5965-4743-A061-CDC32CC39582}">
      <dgm:prSet/>
      <dgm:spPr/>
      <dgm:t>
        <a:bodyPr/>
        <a:lstStyle/>
        <a:p>
          <a:endParaRPr lang="en-US"/>
        </a:p>
      </dgm:t>
    </dgm:pt>
    <dgm:pt modelId="{45C9E60D-23B6-41EB-9B7D-9BC15733F6D1}" type="sibTrans" cxnId="{B6080AEF-5965-4743-A061-CDC32CC39582}">
      <dgm:prSet/>
      <dgm:spPr/>
      <dgm:t>
        <a:bodyPr/>
        <a:lstStyle/>
        <a:p>
          <a:endParaRPr lang="en-US"/>
        </a:p>
      </dgm:t>
    </dgm:pt>
    <dgm:pt modelId="{9A286409-755C-47F6-978F-0B1056CDF2D2}">
      <dgm:prSet phldr="0"/>
      <dgm:spPr/>
      <dgm:t>
        <a:bodyPr/>
        <a:lstStyle/>
        <a:p>
          <a:pPr rtl="0"/>
          <a:r>
            <a:rPr lang="en-US" dirty="0">
              <a:latin typeface="Aptos Display"/>
            </a:rPr>
            <a:t>We want to hear from you! </a:t>
          </a:r>
          <a:r>
            <a:rPr lang="en-US" b="1" dirty="0">
              <a:latin typeface="Aptos Display"/>
            </a:rPr>
            <a:t>Survey OPEN </a:t>
          </a:r>
          <a:r>
            <a:rPr lang="en-US" b="1" dirty="0">
              <a:latin typeface="Aptos Display"/>
              <a:hlinkClick xmlns:r="http://schemas.openxmlformats.org/officeDocument/2006/relationships" r:id="rId1"/>
            </a:rPr>
            <a:t>NOW.</a:t>
          </a:r>
          <a:endParaRPr lang="en-US" b="1" dirty="0">
            <a:latin typeface="Aptos Display"/>
          </a:endParaRPr>
        </a:p>
      </dgm:t>
    </dgm:pt>
    <dgm:pt modelId="{9291BA0D-48AB-4364-A092-0919F94C1470}" type="parTrans" cxnId="{8D6E092E-58C8-4D72-B870-0D2F549755C5}">
      <dgm:prSet/>
      <dgm:spPr/>
      <dgm:t>
        <a:bodyPr/>
        <a:lstStyle/>
        <a:p>
          <a:endParaRPr lang="en-US"/>
        </a:p>
      </dgm:t>
    </dgm:pt>
    <dgm:pt modelId="{EDFE8248-1123-45BE-80CC-ED04D63ECAF9}" type="sibTrans" cxnId="{8D6E092E-58C8-4D72-B870-0D2F549755C5}">
      <dgm:prSet/>
      <dgm:spPr/>
      <dgm:t>
        <a:bodyPr/>
        <a:lstStyle/>
        <a:p>
          <a:endParaRPr lang="en-US"/>
        </a:p>
      </dgm:t>
    </dgm:pt>
    <dgm:pt modelId="{F521A60E-AF20-4BC8-BB3E-652F6286D34A}">
      <dgm:prSet phldr="0"/>
      <dgm:spPr/>
      <dgm:t>
        <a:bodyPr/>
        <a:lstStyle/>
        <a:p>
          <a:pPr rtl="0"/>
          <a:r>
            <a:rPr lang="en-US" dirty="0">
              <a:latin typeface="Aptos Display"/>
            </a:rPr>
            <a:t>This is a great opportunity to share your teams' thoughts &amp; insights reflecting on 2024 and planning for 2025!</a:t>
          </a:r>
        </a:p>
      </dgm:t>
    </dgm:pt>
    <dgm:pt modelId="{B9351DEB-1B71-494B-81A5-B8A2DF00679D}" type="parTrans" cxnId="{07D213BB-362D-4146-B0ED-D8CC3F3F30C5}">
      <dgm:prSet/>
      <dgm:spPr/>
      <dgm:t>
        <a:bodyPr/>
        <a:lstStyle/>
        <a:p>
          <a:endParaRPr lang="en-US"/>
        </a:p>
      </dgm:t>
    </dgm:pt>
    <dgm:pt modelId="{50985435-0157-41A4-B0CC-BC30B5F0CED9}" type="sibTrans" cxnId="{07D213BB-362D-4146-B0ED-D8CC3F3F30C5}">
      <dgm:prSet/>
      <dgm:spPr/>
      <dgm:t>
        <a:bodyPr/>
        <a:lstStyle/>
        <a:p>
          <a:endParaRPr lang="en-US"/>
        </a:p>
      </dgm:t>
    </dgm:pt>
    <dgm:pt modelId="{7DB66FD1-DB95-4E83-9973-27B94C4E32F0}">
      <dgm:prSet phldr="0"/>
      <dgm:spPr/>
      <dgm:t>
        <a:bodyPr/>
        <a:lstStyle/>
        <a:p>
          <a:r>
            <a:rPr lang="en-US" dirty="0">
              <a:latin typeface="Aptos Display"/>
            </a:rPr>
            <a:t>All data baseline-August 2024 will be </a:t>
          </a:r>
          <a:r>
            <a:rPr lang="en-US" b="1" dirty="0">
              <a:latin typeface="Aptos Display"/>
            </a:rPr>
            <a:t>due on September 27th, 2024,</a:t>
          </a:r>
          <a:r>
            <a:rPr lang="en-US" dirty="0">
              <a:latin typeface="Aptos Display"/>
            </a:rPr>
            <a:t> for award consideration.</a:t>
          </a:r>
          <a:endParaRPr lang="en-US" b="1" dirty="0">
            <a:latin typeface="Aptos Display"/>
          </a:endParaRPr>
        </a:p>
      </dgm:t>
    </dgm:pt>
    <dgm:pt modelId="{8ADBA68A-2F57-443B-A36D-89F41C697784}" type="parTrans" cxnId="{D091DFF4-39E8-4F5A-B8FF-9951A0C5E310}">
      <dgm:prSet/>
      <dgm:spPr/>
      <dgm:t>
        <a:bodyPr/>
        <a:lstStyle/>
        <a:p>
          <a:endParaRPr lang="en-US"/>
        </a:p>
      </dgm:t>
    </dgm:pt>
    <dgm:pt modelId="{CBC0D908-B9A4-4932-BF1F-5715E8C42184}" type="sibTrans" cxnId="{D091DFF4-39E8-4F5A-B8FF-9951A0C5E310}">
      <dgm:prSet/>
      <dgm:spPr/>
      <dgm:t>
        <a:bodyPr/>
        <a:lstStyle/>
        <a:p>
          <a:endParaRPr lang="en-US"/>
        </a:p>
      </dgm:t>
    </dgm:pt>
    <dgm:pt modelId="{7DE4044A-91ED-4C0D-84FC-AFAFFCE36CC7}" type="pres">
      <dgm:prSet presAssocID="{92CED47C-38E7-467C-8A1C-1BD722891462}" presName="linear" presStyleCnt="0">
        <dgm:presLayoutVars>
          <dgm:dir/>
          <dgm:animLvl val="lvl"/>
          <dgm:resizeHandles val="exact"/>
        </dgm:presLayoutVars>
      </dgm:prSet>
      <dgm:spPr/>
    </dgm:pt>
    <dgm:pt modelId="{0AF318F5-4834-4567-8FBD-BAC7ADA6E4BF}" type="pres">
      <dgm:prSet presAssocID="{DF8C36AC-D358-44C1-8CCF-864E48E9EE34}" presName="parentLin" presStyleCnt="0"/>
      <dgm:spPr/>
    </dgm:pt>
    <dgm:pt modelId="{01652856-29DD-4888-97C1-C7B2FCEF24C9}" type="pres">
      <dgm:prSet presAssocID="{DF8C36AC-D358-44C1-8CCF-864E48E9EE34}" presName="parentLeftMargin" presStyleLbl="node1" presStyleIdx="0" presStyleCnt="3"/>
      <dgm:spPr/>
    </dgm:pt>
    <dgm:pt modelId="{717BC3C2-DA22-4D51-A406-9086CACDDF9B}" type="pres">
      <dgm:prSet presAssocID="{DF8C36AC-D358-44C1-8CCF-864E48E9EE34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04A28FF3-818A-4AA3-9665-79EF4E644B0D}" type="pres">
      <dgm:prSet presAssocID="{DF8C36AC-D358-44C1-8CCF-864E48E9EE34}" presName="negativeSpace" presStyleCnt="0"/>
      <dgm:spPr/>
    </dgm:pt>
    <dgm:pt modelId="{42DD2E0E-F49E-4BE0-95A3-709CC9C0A47F}" type="pres">
      <dgm:prSet presAssocID="{DF8C36AC-D358-44C1-8CCF-864E48E9EE34}" presName="childText" presStyleLbl="conFgAcc1" presStyleIdx="0" presStyleCnt="3">
        <dgm:presLayoutVars>
          <dgm:bulletEnabled val="1"/>
        </dgm:presLayoutVars>
      </dgm:prSet>
      <dgm:spPr/>
    </dgm:pt>
    <dgm:pt modelId="{96D6F8AA-A05E-497C-B1A2-9318F555889E}" type="pres">
      <dgm:prSet presAssocID="{62C93ADB-50F5-4FEA-A9D2-CBD05A488FB7}" presName="spaceBetweenRectangles" presStyleCnt="0"/>
      <dgm:spPr/>
    </dgm:pt>
    <dgm:pt modelId="{5EDFE944-C54E-4409-BF67-DBDA9FFC256E}" type="pres">
      <dgm:prSet presAssocID="{277CB91B-1C42-48E8-9BA7-10FC79E64F8E}" presName="parentLin" presStyleCnt="0"/>
      <dgm:spPr/>
    </dgm:pt>
    <dgm:pt modelId="{87C4B48B-7C7D-4887-B26E-D734DA9A8C50}" type="pres">
      <dgm:prSet presAssocID="{277CB91B-1C42-48E8-9BA7-10FC79E64F8E}" presName="parentLeftMargin" presStyleLbl="node1" presStyleIdx="0" presStyleCnt="3"/>
      <dgm:spPr/>
    </dgm:pt>
    <dgm:pt modelId="{C8372599-BDA9-4E62-9184-ABA50695DEAE}" type="pres">
      <dgm:prSet presAssocID="{277CB91B-1C42-48E8-9BA7-10FC79E64F8E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242C1C7A-827F-45AF-84C9-2577967EF3C1}" type="pres">
      <dgm:prSet presAssocID="{277CB91B-1C42-48E8-9BA7-10FC79E64F8E}" presName="negativeSpace" presStyleCnt="0"/>
      <dgm:spPr/>
    </dgm:pt>
    <dgm:pt modelId="{6C17968B-3B40-4894-B40F-C49EEEEE87D3}" type="pres">
      <dgm:prSet presAssocID="{277CB91B-1C42-48E8-9BA7-10FC79E64F8E}" presName="childText" presStyleLbl="conFgAcc1" presStyleIdx="1" presStyleCnt="3">
        <dgm:presLayoutVars>
          <dgm:bulletEnabled val="1"/>
        </dgm:presLayoutVars>
      </dgm:prSet>
      <dgm:spPr/>
    </dgm:pt>
    <dgm:pt modelId="{6D9D424A-D22D-4A76-852C-DEFDD3829FDE}" type="pres">
      <dgm:prSet presAssocID="{93624452-662B-4F58-934A-EBE2E5B0D4AB}" presName="spaceBetweenRectangles" presStyleCnt="0"/>
      <dgm:spPr/>
    </dgm:pt>
    <dgm:pt modelId="{FF60C45A-813C-4053-A09D-7269275F80DB}" type="pres">
      <dgm:prSet presAssocID="{6F528CE6-C1A3-4D2B-81A0-CFCEB0EBAD90}" presName="parentLin" presStyleCnt="0"/>
      <dgm:spPr/>
    </dgm:pt>
    <dgm:pt modelId="{BAFEC78A-8DAD-47F6-AE20-1A6B32AC01A4}" type="pres">
      <dgm:prSet presAssocID="{6F528CE6-C1A3-4D2B-81A0-CFCEB0EBAD90}" presName="parentLeftMargin" presStyleLbl="node1" presStyleIdx="1" presStyleCnt="3"/>
      <dgm:spPr/>
    </dgm:pt>
    <dgm:pt modelId="{ECEB8BDC-F220-41C1-B502-A535EC67DE59}" type="pres">
      <dgm:prSet presAssocID="{6F528CE6-C1A3-4D2B-81A0-CFCEB0EBAD90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FE42D628-BBA6-4E36-AA67-F2E179A15711}" type="pres">
      <dgm:prSet presAssocID="{6F528CE6-C1A3-4D2B-81A0-CFCEB0EBAD90}" presName="negativeSpace" presStyleCnt="0"/>
      <dgm:spPr/>
    </dgm:pt>
    <dgm:pt modelId="{E42B4496-FBF8-4DC9-AF60-BFE77B144112}" type="pres">
      <dgm:prSet presAssocID="{6F528CE6-C1A3-4D2B-81A0-CFCEB0EBAD90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689E2010-A57F-4069-8200-CA3F718006C6}" type="presOf" srcId="{6F528CE6-C1A3-4D2B-81A0-CFCEB0EBAD90}" destId="{BAFEC78A-8DAD-47F6-AE20-1A6B32AC01A4}" srcOrd="0" destOrd="0" presId="urn:microsoft.com/office/officeart/2005/8/layout/list1"/>
    <dgm:cxn modelId="{52E3AE29-C5CC-4C79-9B26-CB7C82A1B121}" type="presOf" srcId="{6F528CE6-C1A3-4D2B-81A0-CFCEB0EBAD90}" destId="{ECEB8BDC-F220-41C1-B502-A535EC67DE59}" srcOrd="1" destOrd="0" presId="urn:microsoft.com/office/officeart/2005/8/layout/list1"/>
    <dgm:cxn modelId="{CEE86E2C-B6FA-4185-B7D7-1277DB647415}" type="presOf" srcId="{DF8C36AC-D358-44C1-8CCF-864E48E9EE34}" destId="{717BC3C2-DA22-4D51-A406-9086CACDDF9B}" srcOrd="1" destOrd="0" presId="urn:microsoft.com/office/officeart/2005/8/layout/list1"/>
    <dgm:cxn modelId="{ABBFFE2D-DDF7-4F85-BE66-4DCEC96F45D5}" type="presOf" srcId="{DF8C36AC-D358-44C1-8CCF-864E48E9EE34}" destId="{01652856-29DD-4888-97C1-C7B2FCEF24C9}" srcOrd="0" destOrd="0" presId="urn:microsoft.com/office/officeart/2005/8/layout/list1"/>
    <dgm:cxn modelId="{8D6E092E-58C8-4D72-B870-0D2F549755C5}" srcId="{6F528CE6-C1A3-4D2B-81A0-CFCEB0EBAD90}" destId="{9A286409-755C-47F6-978F-0B1056CDF2D2}" srcOrd="0" destOrd="0" parTransId="{9291BA0D-48AB-4364-A092-0919F94C1470}" sibTransId="{EDFE8248-1123-45BE-80CC-ED04D63ECAF9}"/>
    <dgm:cxn modelId="{F1C85135-8472-433E-98BE-532497A42780}" srcId="{92CED47C-38E7-467C-8A1C-1BD722891462}" destId="{DF8C36AC-D358-44C1-8CCF-864E48E9EE34}" srcOrd="0" destOrd="0" parTransId="{77454E31-4BF7-45E4-A61C-C06BAD198ECF}" sibTransId="{62C93ADB-50F5-4FEA-A9D2-CBD05A488FB7}"/>
    <dgm:cxn modelId="{DA88B244-F5E5-4611-97DA-659C633A7587}" type="presOf" srcId="{277CB91B-1C42-48E8-9BA7-10FC79E64F8E}" destId="{87C4B48B-7C7D-4887-B26E-D734DA9A8C50}" srcOrd="0" destOrd="0" presId="urn:microsoft.com/office/officeart/2005/8/layout/list1"/>
    <dgm:cxn modelId="{96164656-556B-4B15-8824-70096B5A10BD}" type="presOf" srcId="{9A286409-755C-47F6-978F-0B1056CDF2D2}" destId="{E42B4496-FBF8-4DC9-AF60-BFE77B144112}" srcOrd="0" destOrd="0" presId="urn:microsoft.com/office/officeart/2005/8/layout/list1"/>
    <dgm:cxn modelId="{11047979-4753-4BCF-91C8-FE4A8274277B}" type="presOf" srcId="{F521A60E-AF20-4BC8-BB3E-652F6286D34A}" destId="{E42B4496-FBF8-4DC9-AF60-BFE77B144112}" srcOrd="0" destOrd="1" presId="urn:microsoft.com/office/officeart/2005/8/layout/list1"/>
    <dgm:cxn modelId="{CB76AE88-F6B6-4082-AB18-69E71E6EF410}" type="presOf" srcId="{277CB91B-1C42-48E8-9BA7-10FC79E64F8E}" destId="{C8372599-BDA9-4E62-9184-ABA50695DEAE}" srcOrd="1" destOrd="0" presId="urn:microsoft.com/office/officeart/2005/8/layout/list1"/>
    <dgm:cxn modelId="{4FCE7C92-D06E-417F-8E44-A664565D79CE}" srcId="{277CB91B-1C42-48E8-9BA7-10FC79E64F8E}" destId="{78D4CC8F-2595-4059-ACA1-7005FE483A37}" srcOrd="0" destOrd="0" parTransId="{A251C99C-8B3D-40DF-81A9-D7542C43875E}" sibTransId="{881FC4F4-45E5-4ACC-B91A-47999364CD20}"/>
    <dgm:cxn modelId="{46EEE999-2E03-44F0-A90F-B50F08D0E928}" type="presOf" srcId="{78D4CC8F-2595-4059-ACA1-7005FE483A37}" destId="{6C17968B-3B40-4894-B40F-C49EEEEE87D3}" srcOrd="0" destOrd="0" presId="urn:microsoft.com/office/officeart/2005/8/layout/list1"/>
    <dgm:cxn modelId="{07D213BB-362D-4146-B0ED-D8CC3F3F30C5}" srcId="{6F528CE6-C1A3-4D2B-81A0-CFCEB0EBAD90}" destId="{F521A60E-AF20-4BC8-BB3E-652F6286D34A}" srcOrd="1" destOrd="0" parTransId="{B9351DEB-1B71-494B-81A5-B8A2DF00679D}" sibTransId="{50985435-0157-41A4-B0CC-BC30B5F0CED9}"/>
    <dgm:cxn modelId="{B88307E1-DB9A-4185-9FD6-DC8C1FDCC158}" type="presOf" srcId="{92CED47C-38E7-467C-8A1C-1BD722891462}" destId="{7DE4044A-91ED-4C0D-84FC-AFAFFCE36CC7}" srcOrd="0" destOrd="0" presId="urn:microsoft.com/office/officeart/2005/8/layout/list1"/>
    <dgm:cxn modelId="{BD6ED9E6-8181-4AA6-A77D-C77FAC08F3CC}" type="presOf" srcId="{7DB66FD1-DB95-4E83-9973-27B94C4E32F0}" destId="{42DD2E0E-F49E-4BE0-95A3-709CC9C0A47F}" srcOrd="0" destOrd="0" presId="urn:microsoft.com/office/officeart/2005/8/layout/list1"/>
    <dgm:cxn modelId="{B6080AEF-5965-4743-A061-CDC32CC39582}" srcId="{92CED47C-38E7-467C-8A1C-1BD722891462}" destId="{6F528CE6-C1A3-4D2B-81A0-CFCEB0EBAD90}" srcOrd="2" destOrd="0" parTransId="{62346CA0-5B88-4CE8-914A-B6CEB57871F1}" sibTransId="{45C9E60D-23B6-41EB-9B7D-9BC15733F6D1}"/>
    <dgm:cxn modelId="{D091DFF4-39E8-4F5A-B8FF-9951A0C5E310}" srcId="{DF8C36AC-D358-44C1-8CCF-864E48E9EE34}" destId="{7DB66FD1-DB95-4E83-9973-27B94C4E32F0}" srcOrd="0" destOrd="0" parTransId="{8ADBA68A-2F57-443B-A36D-89F41C697784}" sibTransId="{CBC0D908-B9A4-4932-BF1F-5715E8C42184}"/>
    <dgm:cxn modelId="{DBC449FF-D23E-4F26-BCA7-82B94996073D}" srcId="{92CED47C-38E7-467C-8A1C-1BD722891462}" destId="{277CB91B-1C42-48E8-9BA7-10FC79E64F8E}" srcOrd="1" destOrd="0" parTransId="{03D7C569-4529-4991-A0C2-8E79BCD76571}" sibTransId="{93624452-662B-4F58-934A-EBE2E5B0D4AB}"/>
    <dgm:cxn modelId="{F598E0C5-698C-4C12-A200-96A226695F17}" type="presParOf" srcId="{7DE4044A-91ED-4C0D-84FC-AFAFFCE36CC7}" destId="{0AF318F5-4834-4567-8FBD-BAC7ADA6E4BF}" srcOrd="0" destOrd="0" presId="urn:microsoft.com/office/officeart/2005/8/layout/list1"/>
    <dgm:cxn modelId="{70251976-2130-4A94-B16A-3B5A9305CA4C}" type="presParOf" srcId="{0AF318F5-4834-4567-8FBD-BAC7ADA6E4BF}" destId="{01652856-29DD-4888-97C1-C7B2FCEF24C9}" srcOrd="0" destOrd="0" presId="urn:microsoft.com/office/officeart/2005/8/layout/list1"/>
    <dgm:cxn modelId="{7E5DF192-5CA2-4743-8D91-DA01A23D9FBA}" type="presParOf" srcId="{0AF318F5-4834-4567-8FBD-BAC7ADA6E4BF}" destId="{717BC3C2-DA22-4D51-A406-9086CACDDF9B}" srcOrd="1" destOrd="0" presId="urn:microsoft.com/office/officeart/2005/8/layout/list1"/>
    <dgm:cxn modelId="{587F3F18-48F1-4286-A694-4A4837377C2F}" type="presParOf" srcId="{7DE4044A-91ED-4C0D-84FC-AFAFFCE36CC7}" destId="{04A28FF3-818A-4AA3-9665-79EF4E644B0D}" srcOrd="1" destOrd="0" presId="urn:microsoft.com/office/officeart/2005/8/layout/list1"/>
    <dgm:cxn modelId="{9F96B43D-B488-4FA7-8F81-18FF593519A1}" type="presParOf" srcId="{7DE4044A-91ED-4C0D-84FC-AFAFFCE36CC7}" destId="{42DD2E0E-F49E-4BE0-95A3-709CC9C0A47F}" srcOrd="2" destOrd="0" presId="urn:microsoft.com/office/officeart/2005/8/layout/list1"/>
    <dgm:cxn modelId="{08E7A6ED-E07F-4F22-848B-04309F821B43}" type="presParOf" srcId="{7DE4044A-91ED-4C0D-84FC-AFAFFCE36CC7}" destId="{96D6F8AA-A05E-497C-B1A2-9318F555889E}" srcOrd="3" destOrd="0" presId="urn:microsoft.com/office/officeart/2005/8/layout/list1"/>
    <dgm:cxn modelId="{E899D341-20F3-4075-B6A4-B66CDC8E5253}" type="presParOf" srcId="{7DE4044A-91ED-4C0D-84FC-AFAFFCE36CC7}" destId="{5EDFE944-C54E-4409-BF67-DBDA9FFC256E}" srcOrd="4" destOrd="0" presId="urn:microsoft.com/office/officeart/2005/8/layout/list1"/>
    <dgm:cxn modelId="{EAD0CA07-7229-47DB-8397-299350D240F8}" type="presParOf" srcId="{5EDFE944-C54E-4409-BF67-DBDA9FFC256E}" destId="{87C4B48B-7C7D-4887-B26E-D734DA9A8C50}" srcOrd="0" destOrd="0" presId="urn:microsoft.com/office/officeart/2005/8/layout/list1"/>
    <dgm:cxn modelId="{1125D0F0-7743-4E52-941F-124BBA4FBFB1}" type="presParOf" srcId="{5EDFE944-C54E-4409-BF67-DBDA9FFC256E}" destId="{C8372599-BDA9-4E62-9184-ABA50695DEAE}" srcOrd="1" destOrd="0" presId="urn:microsoft.com/office/officeart/2005/8/layout/list1"/>
    <dgm:cxn modelId="{41827606-E482-451B-B7CA-35C3BAC5D202}" type="presParOf" srcId="{7DE4044A-91ED-4C0D-84FC-AFAFFCE36CC7}" destId="{242C1C7A-827F-45AF-84C9-2577967EF3C1}" srcOrd="5" destOrd="0" presId="urn:microsoft.com/office/officeart/2005/8/layout/list1"/>
    <dgm:cxn modelId="{571DCCBA-4A66-4C4D-90E9-7EC330E3B65B}" type="presParOf" srcId="{7DE4044A-91ED-4C0D-84FC-AFAFFCE36CC7}" destId="{6C17968B-3B40-4894-B40F-C49EEEEE87D3}" srcOrd="6" destOrd="0" presId="urn:microsoft.com/office/officeart/2005/8/layout/list1"/>
    <dgm:cxn modelId="{828C073A-CFB1-4DF4-B5AA-4AA7A1230DD9}" type="presParOf" srcId="{7DE4044A-91ED-4C0D-84FC-AFAFFCE36CC7}" destId="{6D9D424A-D22D-4A76-852C-DEFDD3829FDE}" srcOrd="7" destOrd="0" presId="urn:microsoft.com/office/officeart/2005/8/layout/list1"/>
    <dgm:cxn modelId="{D04DD9C6-CF71-406F-9D44-5E4ED946CCC3}" type="presParOf" srcId="{7DE4044A-91ED-4C0D-84FC-AFAFFCE36CC7}" destId="{FF60C45A-813C-4053-A09D-7269275F80DB}" srcOrd="8" destOrd="0" presId="urn:microsoft.com/office/officeart/2005/8/layout/list1"/>
    <dgm:cxn modelId="{1F5D41D6-586F-4CFC-9D46-6F9559BD0964}" type="presParOf" srcId="{FF60C45A-813C-4053-A09D-7269275F80DB}" destId="{BAFEC78A-8DAD-47F6-AE20-1A6B32AC01A4}" srcOrd="0" destOrd="0" presId="urn:microsoft.com/office/officeart/2005/8/layout/list1"/>
    <dgm:cxn modelId="{299DB85B-A170-4236-8DA7-222EF7277397}" type="presParOf" srcId="{FF60C45A-813C-4053-A09D-7269275F80DB}" destId="{ECEB8BDC-F220-41C1-B502-A535EC67DE59}" srcOrd="1" destOrd="0" presId="urn:microsoft.com/office/officeart/2005/8/layout/list1"/>
    <dgm:cxn modelId="{60D4A476-6DEB-4799-9BA4-37A1E40B44AB}" type="presParOf" srcId="{7DE4044A-91ED-4C0D-84FC-AFAFFCE36CC7}" destId="{FE42D628-BBA6-4E36-AA67-F2E179A15711}" srcOrd="9" destOrd="0" presId="urn:microsoft.com/office/officeart/2005/8/layout/list1"/>
    <dgm:cxn modelId="{0716B8FC-BB6C-4CD5-AA60-3E687E178435}" type="presParOf" srcId="{7DE4044A-91ED-4C0D-84FC-AFAFFCE36CC7}" destId="{E42B4496-FBF8-4DC9-AF60-BFE77B144112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54EE0B1-551E-45A0-9344-794BE6F75328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7B9AF44-F406-4E71-AF36-DAA2399C6FB7}">
      <dgm:prSet phldrT="[Text]"/>
      <dgm:spPr/>
      <dgm:t>
        <a:bodyPr/>
        <a:lstStyle/>
        <a:p>
          <a:r>
            <a:rPr lang="en-US" dirty="0"/>
            <a:t>Prenatal  Office</a:t>
          </a:r>
        </a:p>
      </dgm:t>
    </dgm:pt>
    <dgm:pt modelId="{316D7A35-A531-4E88-A879-E1EA08B8E678}" type="parTrans" cxnId="{E2E6540A-14E2-4251-907F-682D71DED3AA}">
      <dgm:prSet/>
      <dgm:spPr/>
      <dgm:t>
        <a:bodyPr/>
        <a:lstStyle/>
        <a:p>
          <a:endParaRPr lang="en-US"/>
        </a:p>
      </dgm:t>
    </dgm:pt>
    <dgm:pt modelId="{17C8AC31-242F-461D-95E8-3552A94BD2CB}" type="sibTrans" cxnId="{E2E6540A-14E2-4251-907F-682D71DED3AA}">
      <dgm:prSet/>
      <dgm:spPr/>
      <dgm:t>
        <a:bodyPr/>
        <a:lstStyle/>
        <a:p>
          <a:endParaRPr lang="en-US"/>
        </a:p>
      </dgm:t>
    </dgm:pt>
    <dgm:pt modelId="{12B5A8E3-6E03-4546-8C1E-D083B5804DF1}">
      <dgm:prSet phldrT="[Text]"/>
      <dgm:spPr/>
      <dgm:t>
        <a:bodyPr/>
        <a:lstStyle/>
        <a:p>
          <a:r>
            <a:rPr lang="en-US" dirty="0"/>
            <a:t>SDOH questionnaire is sent via MyChart after 1</a:t>
          </a:r>
          <a:r>
            <a:rPr lang="en-US" baseline="30000" dirty="0"/>
            <a:t>st</a:t>
          </a:r>
          <a:r>
            <a:rPr lang="en-US" dirty="0"/>
            <a:t> prenatal visit</a:t>
          </a:r>
        </a:p>
      </dgm:t>
    </dgm:pt>
    <dgm:pt modelId="{CDD2A521-42AE-4294-ACB7-5AFBD95825D5}" type="parTrans" cxnId="{05D25D3D-299A-476E-97CB-6FDF572B80B5}">
      <dgm:prSet/>
      <dgm:spPr/>
      <dgm:t>
        <a:bodyPr/>
        <a:lstStyle/>
        <a:p>
          <a:endParaRPr lang="en-US"/>
        </a:p>
      </dgm:t>
    </dgm:pt>
    <dgm:pt modelId="{B81ED9C2-A200-42B9-BDD5-8C7C26B8FA5A}" type="sibTrans" cxnId="{05D25D3D-299A-476E-97CB-6FDF572B80B5}">
      <dgm:prSet/>
      <dgm:spPr/>
      <dgm:t>
        <a:bodyPr/>
        <a:lstStyle/>
        <a:p>
          <a:endParaRPr lang="en-US"/>
        </a:p>
      </dgm:t>
    </dgm:pt>
    <dgm:pt modelId="{4C5A520A-9119-4EF9-83D0-FE9EA58D4C96}">
      <dgm:prSet phldrT="[Text]"/>
      <dgm:spPr/>
      <dgm:t>
        <a:bodyPr/>
        <a:lstStyle/>
        <a:p>
          <a:r>
            <a:rPr lang="en-US" dirty="0"/>
            <a:t>High (</a:t>
          </a:r>
          <a:r>
            <a:rPr lang="en-US" dirty="0">
              <a:solidFill>
                <a:schemeClr val="tx1"/>
              </a:solidFill>
            </a:rPr>
            <a:t>red) </a:t>
          </a:r>
          <a:r>
            <a:rPr lang="en-US" dirty="0"/>
            <a:t>or cautionary</a:t>
          </a:r>
          <a:r>
            <a:rPr lang="en-US" dirty="0">
              <a:solidFill>
                <a:schemeClr val="tx1"/>
              </a:solidFill>
            </a:rPr>
            <a:t> (yellow</a:t>
          </a:r>
          <a:r>
            <a:rPr lang="en-US" dirty="0"/>
            <a:t>) results trigger a message to the RN in-basket pool</a:t>
          </a:r>
        </a:p>
      </dgm:t>
    </dgm:pt>
    <dgm:pt modelId="{B2D8CDDA-9505-4D5C-9827-5A583C02094C}" type="parTrans" cxnId="{1165A945-F92A-4F66-8E40-288712B9BEF6}">
      <dgm:prSet/>
      <dgm:spPr/>
      <dgm:t>
        <a:bodyPr/>
        <a:lstStyle/>
        <a:p>
          <a:endParaRPr lang="en-US"/>
        </a:p>
      </dgm:t>
    </dgm:pt>
    <dgm:pt modelId="{A97D5FC6-F0F7-4077-A169-D7C5D1686067}" type="sibTrans" cxnId="{1165A945-F92A-4F66-8E40-288712B9BEF6}">
      <dgm:prSet/>
      <dgm:spPr/>
      <dgm:t>
        <a:bodyPr/>
        <a:lstStyle/>
        <a:p>
          <a:endParaRPr lang="en-US"/>
        </a:p>
      </dgm:t>
    </dgm:pt>
    <dgm:pt modelId="{B95194E5-52D4-47A4-8283-A376E2BBE190}">
      <dgm:prSet phldrT="[Text]"/>
      <dgm:spPr/>
      <dgm:t>
        <a:bodyPr/>
        <a:lstStyle/>
        <a:p>
          <a:r>
            <a:rPr lang="en-US" dirty="0"/>
            <a:t>L&amp;D</a:t>
          </a:r>
        </a:p>
      </dgm:t>
    </dgm:pt>
    <dgm:pt modelId="{4639DD92-51CF-4495-AB1B-8A851275E88A}" type="parTrans" cxnId="{9CCE0FD1-63E0-406A-85A1-A377EA52B5F6}">
      <dgm:prSet/>
      <dgm:spPr/>
      <dgm:t>
        <a:bodyPr/>
        <a:lstStyle/>
        <a:p>
          <a:endParaRPr lang="en-US"/>
        </a:p>
      </dgm:t>
    </dgm:pt>
    <dgm:pt modelId="{A51F1E0E-834C-4279-A981-6B0D4A40C4B6}" type="sibTrans" cxnId="{9CCE0FD1-63E0-406A-85A1-A377EA52B5F6}">
      <dgm:prSet/>
      <dgm:spPr/>
      <dgm:t>
        <a:bodyPr/>
        <a:lstStyle/>
        <a:p>
          <a:endParaRPr lang="en-US"/>
        </a:p>
      </dgm:t>
    </dgm:pt>
    <dgm:pt modelId="{F25E0495-7EFE-46CC-A37B-1017CA040413}">
      <dgm:prSet phldrT="[Text]"/>
      <dgm:spPr/>
      <dgm:t>
        <a:bodyPr/>
        <a:lstStyle/>
        <a:p>
          <a:r>
            <a:rPr lang="en-US" dirty="0"/>
            <a:t>All patients are screened with the SDOH questionnaire at every encounter to L&amp;D (triage, labor, antepartum)</a:t>
          </a:r>
        </a:p>
      </dgm:t>
    </dgm:pt>
    <dgm:pt modelId="{625975A8-F94D-4336-8D7E-2B593B7CD8C5}" type="parTrans" cxnId="{39D10C96-F2EE-4E8F-94A0-CF90E8EBF390}">
      <dgm:prSet/>
      <dgm:spPr/>
      <dgm:t>
        <a:bodyPr/>
        <a:lstStyle/>
        <a:p>
          <a:endParaRPr lang="en-US"/>
        </a:p>
      </dgm:t>
    </dgm:pt>
    <dgm:pt modelId="{44FDBF4A-BAF4-4A21-8434-14C11B352A39}" type="sibTrans" cxnId="{39D10C96-F2EE-4E8F-94A0-CF90E8EBF390}">
      <dgm:prSet/>
      <dgm:spPr/>
      <dgm:t>
        <a:bodyPr/>
        <a:lstStyle/>
        <a:p>
          <a:endParaRPr lang="en-US"/>
        </a:p>
      </dgm:t>
    </dgm:pt>
    <dgm:pt modelId="{989F7967-19C0-4344-94B2-459EEE20AE8C}">
      <dgm:prSet phldrT="[Text]"/>
      <dgm:spPr/>
      <dgm:t>
        <a:bodyPr/>
        <a:lstStyle/>
        <a:p>
          <a:r>
            <a:rPr lang="en-US" dirty="0"/>
            <a:t>A BPA fires for a social service consult for all High Risk (RED). Housing is the only exception, if Medium Risk (yellow) the BPA fires for a consult.</a:t>
          </a:r>
        </a:p>
      </dgm:t>
    </dgm:pt>
    <dgm:pt modelId="{C0669541-931F-4A53-BFD2-5826FBB0C543}" type="parTrans" cxnId="{1EF6A91F-DBFD-477D-ADEE-46DC59ECDB56}">
      <dgm:prSet/>
      <dgm:spPr/>
      <dgm:t>
        <a:bodyPr/>
        <a:lstStyle/>
        <a:p>
          <a:endParaRPr lang="en-US"/>
        </a:p>
      </dgm:t>
    </dgm:pt>
    <dgm:pt modelId="{7E2FED55-1326-4FC9-922E-A90BD061363D}" type="sibTrans" cxnId="{1EF6A91F-DBFD-477D-ADEE-46DC59ECDB56}">
      <dgm:prSet/>
      <dgm:spPr/>
      <dgm:t>
        <a:bodyPr/>
        <a:lstStyle/>
        <a:p>
          <a:endParaRPr lang="en-US"/>
        </a:p>
      </dgm:t>
    </dgm:pt>
    <dgm:pt modelId="{69B234A8-8D11-4B68-AAEE-3DDCB693196A}">
      <dgm:prSet phldrT="[Text]"/>
      <dgm:spPr/>
      <dgm:t>
        <a:bodyPr/>
        <a:lstStyle/>
        <a:p>
          <a:r>
            <a:rPr lang="en-US" dirty="0"/>
            <a:t>Mother-Baby</a:t>
          </a:r>
        </a:p>
      </dgm:t>
    </dgm:pt>
    <dgm:pt modelId="{DFA686D5-801A-478F-B915-B720C0E8A5F6}" type="parTrans" cxnId="{5E4225C4-A6D6-48B6-A16C-ED1574CB70B8}">
      <dgm:prSet/>
      <dgm:spPr/>
      <dgm:t>
        <a:bodyPr/>
        <a:lstStyle/>
        <a:p>
          <a:endParaRPr lang="en-US"/>
        </a:p>
      </dgm:t>
    </dgm:pt>
    <dgm:pt modelId="{042B510F-CABC-4AFD-BD17-3D36A1DCD1AE}" type="sibTrans" cxnId="{5E4225C4-A6D6-48B6-A16C-ED1574CB70B8}">
      <dgm:prSet/>
      <dgm:spPr/>
      <dgm:t>
        <a:bodyPr/>
        <a:lstStyle/>
        <a:p>
          <a:endParaRPr lang="en-US"/>
        </a:p>
      </dgm:t>
    </dgm:pt>
    <dgm:pt modelId="{285A44CC-741D-4692-ABED-BA3E08EE3192}">
      <dgm:prSet phldrT="[Text]"/>
      <dgm:spPr/>
      <dgm:t>
        <a:bodyPr/>
        <a:lstStyle/>
        <a:p>
          <a:r>
            <a:rPr lang="en-US" dirty="0"/>
            <a:t>Social service consult is provided in MB and patients are provided resources</a:t>
          </a:r>
        </a:p>
      </dgm:t>
    </dgm:pt>
    <dgm:pt modelId="{CF4AED24-E189-4C62-9418-C1E793F4A443}" type="parTrans" cxnId="{E5FE4843-5FFC-4ACF-A3A0-7E3951880DFB}">
      <dgm:prSet/>
      <dgm:spPr/>
      <dgm:t>
        <a:bodyPr/>
        <a:lstStyle/>
        <a:p>
          <a:endParaRPr lang="en-US"/>
        </a:p>
      </dgm:t>
    </dgm:pt>
    <dgm:pt modelId="{107536C6-FBA0-42C2-AFB9-0217708693E9}" type="sibTrans" cxnId="{E5FE4843-5FFC-4ACF-A3A0-7E3951880DFB}">
      <dgm:prSet/>
      <dgm:spPr/>
      <dgm:t>
        <a:bodyPr/>
        <a:lstStyle/>
        <a:p>
          <a:endParaRPr lang="en-US"/>
        </a:p>
      </dgm:t>
    </dgm:pt>
    <dgm:pt modelId="{82038D11-072C-44D6-99BF-8991EB5D1F08}">
      <dgm:prSet phldrT="[Text]"/>
      <dgm:spPr/>
      <dgm:t>
        <a:bodyPr/>
        <a:lstStyle/>
        <a:p>
          <a:r>
            <a:rPr lang="en-US" dirty="0"/>
            <a:t>Office follows up with patient by phone or at the next office visit with resources (findhelp.org)</a:t>
          </a:r>
        </a:p>
      </dgm:t>
    </dgm:pt>
    <dgm:pt modelId="{56600898-64B6-402E-8413-EB8E2AF92EC7}" type="parTrans" cxnId="{B38FA57C-03C2-443F-B388-473AEB4D35DC}">
      <dgm:prSet/>
      <dgm:spPr/>
      <dgm:t>
        <a:bodyPr/>
        <a:lstStyle/>
        <a:p>
          <a:endParaRPr lang="en-US"/>
        </a:p>
      </dgm:t>
    </dgm:pt>
    <dgm:pt modelId="{F5E5428A-58F4-4045-A44E-CFDF6119284D}" type="sibTrans" cxnId="{B38FA57C-03C2-443F-B388-473AEB4D35DC}">
      <dgm:prSet/>
      <dgm:spPr/>
      <dgm:t>
        <a:bodyPr/>
        <a:lstStyle/>
        <a:p>
          <a:endParaRPr lang="en-US"/>
        </a:p>
      </dgm:t>
    </dgm:pt>
    <dgm:pt modelId="{AB45AF19-6746-43B3-B303-E20197CB5A4A}">
      <dgm:prSet phldrT="[Text]"/>
      <dgm:spPr/>
      <dgm:t>
        <a:bodyPr/>
        <a:lstStyle/>
        <a:p>
          <a:r>
            <a:rPr lang="en-US" dirty="0"/>
            <a:t>Documented in EPIC that resources were provided</a:t>
          </a:r>
        </a:p>
      </dgm:t>
    </dgm:pt>
    <dgm:pt modelId="{695DB428-B8A3-4094-8D7D-05C4AA55395D}" type="parTrans" cxnId="{DA268343-50A6-4190-8F02-DB19B313082A}">
      <dgm:prSet/>
      <dgm:spPr/>
      <dgm:t>
        <a:bodyPr/>
        <a:lstStyle/>
        <a:p>
          <a:endParaRPr lang="en-US"/>
        </a:p>
      </dgm:t>
    </dgm:pt>
    <dgm:pt modelId="{556FB0E1-AF82-4F97-AF0D-916F9B65D690}" type="sibTrans" cxnId="{DA268343-50A6-4190-8F02-DB19B313082A}">
      <dgm:prSet/>
      <dgm:spPr/>
      <dgm:t>
        <a:bodyPr/>
        <a:lstStyle/>
        <a:p>
          <a:endParaRPr lang="en-US"/>
        </a:p>
      </dgm:t>
    </dgm:pt>
    <dgm:pt modelId="{9FBEC489-D28B-43C8-BE37-1231B4CF4906}">
      <dgm:prSet/>
      <dgm:spPr/>
      <dgm:t>
        <a:bodyPr/>
        <a:lstStyle/>
        <a:p>
          <a:r>
            <a:rPr lang="en-US" dirty="0"/>
            <a:t>NICU</a:t>
          </a:r>
        </a:p>
      </dgm:t>
    </dgm:pt>
    <dgm:pt modelId="{50EDF1ED-CB51-4CD5-830D-03A56CC3AB7E}" type="parTrans" cxnId="{F4702047-FCF0-4865-8FB8-48B23B2B31EF}">
      <dgm:prSet/>
      <dgm:spPr/>
    </dgm:pt>
    <dgm:pt modelId="{C349182B-27A0-433F-B723-CB5CF1285ABA}" type="sibTrans" cxnId="{F4702047-FCF0-4865-8FB8-48B23B2B31EF}">
      <dgm:prSet/>
      <dgm:spPr/>
    </dgm:pt>
    <dgm:pt modelId="{DB573E7F-4AAA-4E33-9270-53B8B9979F95}">
      <dgm:prSet/>
      <dgm:spPr/>
      <dgm:t>
        <a:bodyPr/>
        <a:lstStyle/>
        <a:p>
          <a:r>
            <a:rPr lang="en-US" dirty="0"/>
            <a:t>Social work meets with all families and reviews the SDOH questionnaire results</a:t>
          </a:r>
        </a:p>
      </dgm:t>
    </dgm:pt>
    <dgm:pt modelId="{27937F3D-741E-4860-820B-F7294AD89099}" type="parTrans" cxnId="{7D822D52-20A7-4D5E-9709-36CF9FD56BC4}">
      <dgm:prSet/>
      <dgm:spPr/>
    </dgm:pt>
    <dgm:pt modelId="{BD149A31-FA5E-4309-8168-08362D779CB6}" type="sibTrans" cxnId="{7D822D52-20A7-4D5E-9709-36CF9FD56BC4}">
      <dgm:prSet/>
      <dgm:spPr/>
    </dgm:pt>
    <dgm:pt modelId="{36192DB9-EA0C-4609-823E-185BEAEDEA25}">
      <dgm:prSet phldrT="[Text]"/>
      <dgm:spPr/>
      <dgm:t>
        <a:bodyPr/>
        <a:lstStyle/>
        <a:p>
          <a:r>
            <a:rPr lang="en-US" dirty="0"/>
            <a:t>If social services is unable to see the patient (triage) or the patient is leaving prior to being seen, then the RN provides resources. </a:t>
          </a:r>
        </a:p>
      </dgm:t>
    </dgm:pt>
    <dgm:pt modelId="{E5EC75D4-14B1-4A92-ACC5-06FF0A052A3E}" type="parTrans" cxnId="{130DC7EE-478E-4126-BB2F-F193B917B484}">
      <dgm:prSet/>
      <dgm:spPr/>
    </dgm:pt>
    <dgm:pt modelId="{E16B2A18-8B5C-4C1A-9E9F-9E487E1226D6}" type="sibTrans" cxnId="{130DC7EE-478E-4126-BB2F-F193B917B484}">
      <dgm:prSet/>
      <dgm:spPr/>
    </dgm:pt>
    <dgm:pt modelId="{4D379D87-062D-420C-9CFF-A0BB2250C8CD}">
      <dgm:prSet phldrT="[Text]"/>
      <dgm:spPr/>
      <dgm:t>
        <a:bodyPr/>
        <a:lstStyle/>
        <a:p>
          <a:r>
            <a:rPr lang="en-US" dirty="0"/>
            <a:t>If consult is ordered, the patient is seen after delivery in MB or antepartum</a:t>
          </a:r>
        </a:p>
      </dgm:t>
    </dgm:pt>
    <dgm:pt modelId="{6CECC027-40F8-433B-B953-7273E247BD8B}" type="parTrans" cxnId="{869A9178-AFBF-4C79-831A-ACF97FAB8547}">
      <dgm:prSet/>
      <dgm:spPr/>
    </dgm:pt>
    <dgm:pt modelId="{D7A57D0D-EA0C-4E8C-86C8-F8C683E4D450}" type="sibTrans" cxnId="{869A9178-AFBF-4C79-831A-ACF97FAB8547}">
      <dgm:prSet/>
      <dgm:spPr/>
    </dgm:pt>
    <dgm:pt modelId="{18287D80-92E3-4E17-B8CA-5B335A57BEAA}">
      <dgm:prSet/>
      <dgm:spPr/>
      <dgm:t>
        <a:bodyPr/>
        <a:lstStyle/>
        <a:p>
          <a:r>
            <a:rPr lang="en-US" dirty="0"/>
            <a:t>Resources are provided</a:t>
          </a:r>
        </a:p>
      </dgm:t>
    </dgm:pt>
    <dgm:pt modelId="{93797D16-DCEA-41F2-8EF2-EB348C85BE28}" type="parTrans" cxnId="{DF2F75F0-98F6-4FF6-B707-7D3F77614059}">
      <dgm:prSet/>
      <dgm:spPr/>
    </dgm:pt>
    <dgm:pt modelId="{692B81C3-55AE-4413-8829-691E76AB17B6}" type="sibTrans" cxnId="{DF2F75F0-98F6-4FF6-B707-7D3F77614059}">
      <dgm:prSet/>
      <dgm:spPr/>
    </dgm:pt>
    <dgm:pt modelId="{35EDE6A9-7F97-4004-9F8D-B44A20394C40}">
      <dgm:prSet phldrT="[Text]"/>
      <dgm:spPr/>
      <dgm:t>
        <a:bodyPr/>
        <a:lstStyle/>
        <a:p>
          <a:r>
            <a:rPr lang="en-US" dirty="0"/>
            <a:t>SDOH responses from the birthing parent’s chart flow into the newborn’s chart</a:t>
          </a:r>
        </a:p>
      </dgm:t>
    </dgm:pt>
    <dgm:pt modelId="{8FD75FBD-DC86-4BE0-B4B2-C39DE3870F45}" type="parTrans" cxnId="{9D3C80EE-1C8B-4B28-A2C8-F1BDBF20CDFE}">
      <dgm:prSet/>
      <dgm:spPr/>
    </dgm:pt>
    <dgm:pt modelId="{A4760172-4635-4C30-B1EF-57B864E6C96A}" type="sibTrans" cxnId="{9D3C80EE-1C8B-4B28-A2C8-F1BDBF20CDFE}">
      <dgm:prSet/>
      <dgm:spPr/>
    </dgm:pt>
    <dgm:pt modelId="{EE05647C-342D-4929-9C9A-9B4E25FBF40A}">
      <dgm:prSet/>
      <dgm:spPr/>
      <dgm:t>
        <a:bodyPr/>
        <a:lstStyle/>
        <a:p>
          <a:r>
            <a:rPr lang="en-US" dirty="0"/>
            <a:t>Case management and social work meet with family and reviews SDOH domains again prior to discharge</a:t>
          </a:r>
        </a:p>
      </dgm:t>
    </dgm:pt>
    <dgm:pt modelId="{BC8C0CB6-ACF0-4593-B278-5E37E4F1B065}" type="parTrans" cxnId="{7525BDEF-88FB-487A-A20A-58E7AC33E84E}">
      <dgm:prSet/>
      <dgm:spPr/>
    </dgm:pt>
    <dgm:pt modelId="{8258443F-A21B-4C61-86D0-F825DCF8E680}" type="sibTrans" cxnId="{7525BDEF-88FB-487A-A20A-58E7AC33E84E}">
      <dgm:prSet/>
      <dgm:spPr/>
    </dgm:pt>
    <dgm:pt modelId="{4D3164C1-5F39-4A9A-8DF3-B5BE1DA16E94}" type="pres">
      <dgm:prSet presAssocID="{554EE0B1-551E-45A0-9344-794BE6F75328}" presName="linearFlow" presStyleCnt="0">
        <dgm:presLayoutVars>
          <dgm:dir/>
          <dgm:animLvl val="lvl"/>
          <dgm:resizeHandles val="exact"/>
        </dgm:presLayoutVars>
      </dgm:prSet>
      <dgm:spPr/>
    </dgm:pt>
    <dgm:pt modelId="{97CDD380-82CF-4DD8-AEA8-2D23A70F29F7}" type="pres">
      <dgm:prSet presAssocID="{47B9AF44-F406-4E71-AF36-DAA2399C6FB7}" presName="composite" presStyleCnt="0"/>
      <dgm:spPr/>
    </dgm:pt>
    <dgm:pt modelId="{EA8E8662-F1F8-4A98-8DC7-9FDA6B8B0128}" type="pres">
      <dgm:prSet presAssocID="{47B9AF44-F406-4E71-AF36-DAA2399C6FB7}" presName="parentText" presStyleLbl="alignNode1" presStyleIdx="0" presStyleCnt="4">
        <dgm:presLayoutVars>
          <dgm:chMax val="1"/>
          <dgm:bulletEnabled val="1"/>
        </dgm:presLayoutVars>
      </dgm:prSet>
      <dgm:spPr/>
    </dgm:pt>
    <dgm:pt modelId="{79D511D3-5848-4995-A45F-1C934CF76BFD}" type="pres">
      <dgm:prSet presAssocID="{47B9AF44-F406-4E71-AF36-DAA2399C6FB7}" presName="descendantText" presStyleLbl="alignAcc1" presStyleIdx="0" presStyleCnt="4">
        <dgm:presLayoutVars>
          <dgm:bulletEnabled val="1"/>
        </dgm:presLayoutVars>
      </dgm:prSet>
      <dgm:spPr/>
    </dgm:pt>
    <dgm:pt modelId="{1F86602C-A3C9-4649-BDDB-F73D4042C14B}" type="pres">
      <dgm:prSet presAssocID="{17C8AC31-242F-461D-95E8-3552A94BD2CB}" presName="sp" presStyleCnt="0"/>
      <dgm:spPr/>
    </dgm:pt>
    <dgm:pt modelId="{035987E2-27DD-4066-9FDC-F04822A55AAA}" type="pres">
      <dgm:prSet presAssocID="{B95194E5-52D4-47A4-8283-A376E2BBE190}" presName="composite" presStyleCnt="0"/>
      <dgm:spPr/>
    </dgm:pt>
    <dgm:pt modelId="{D55ACA37-2299-4445-A195-0A3A139E56E9}" type="pres">
      <dgm:prSet presAssocID="{B95194E5-52D4-47A4-8283-A376E2BBE190}" presName="parentText" presStyleLbl="alignNode1" presStyleIdx="1" presStyleCnt="4">
        <dgm:presLayoutVars>
          <dgm:chMax val="1"/>
          <dgm:bulletEnabled val="1"/>
        </dgm:presLayoutVars>
      </dgm:prSet>
      <dgm:spPr/>
    </dgm:pt>
    <dgm:pt modelId="{D1BFD4C6-F8BF-4125-B7FC-C0746167D763}" type="pres">
      <dgm:prSet presAssocID="{B95194E5-52D4-47A4-8283-A376E2BBE190}" presName="descendantText" presStyleLbl="alignAcc1" presStyleIdx="1" presStyleCnt="4">
        <dgm:presLayoutVars>
          <dgm:bulletEnabled val="1"/>
        </dgm:presLayoutVars>
      </dgm:prSet>
      <dgm:spPr/>
    </dgm:pt>
    <dgm:pt modelId="{E8A6FC84-699C-4068-BC20-73AF73022DCB}" type="pres">
      <dgm:prSet presAssocID="{A51F1E0E-834C-4279-A981-6B0D4A40C4B6}" presName="sp" presStyleCnt="0"/>
      <dgm:spPr/>
    </dgm:pt>
    <dgm:pt modelId="{19520FFC-48E6-4921-9FEA-65746BAD0058}" type="pres">
      <dgm:prSet presAssocID="{69B234A8-8D11-4B68-AAEE-3DDCB693196A}" presName="composite" presStyleCnt="0"/>
      <dgm:spPr/>
    </dgm:pt>
    <dgm:pt modelId="{FA6BC1A4-D10D-40A3-8A34-4B8F33E1D98D}" type="pres">
      <dgm:prSet presAssocID="{69B234A8-8D11-4B68-AAEE-3DDCB693196A}" presName="parentText" presStyleLbl="alignNode1" presStyleIdx="2" presStyleCnt="4">
        <dgm:presLayoutVars>
          <dgm:chMax val="1"/>
          <dgm:bulletEnabled val="1"/>
        </dgm:presLayoutVars>
      </dgm:prSet>
      <dgm:spPr/>
    </dgm:pt>
    <dgm:pt modelId="{0067B94F-3765-4939-B0DF-B3DE7871DF7A}" type="pres">
      <dgm:prSet presAssocID="{69B234A8-8D11-4B68-AAEE-3DDCB693196A}" presName="descendantText" presStyleLbl="alignAcc1" presStyleIdx="2" presStyleCnt="4">
        <dgm:presLayoutVars>
          <dgm:bulletEnabled val="1"/>
        </dgm:presLayoutVars>
      </dgm:prSet>
      <dgm:spPr/>
    </dgm:pt>
    <dgm:pt modelId="{A6F39761-AD36-4148-A56B-D59965338977}" type="pres">
      <dgm:prSet presAssocID="{042B510F-CABC-4AFD-BD17-3D36A1DCD1AE}" presName="sp" presStyleCnt="0"/>
      <dgm:spPr/>
    </dgm:pt>
    <dgm:pt modelId="{6007911C-391E-4243-9F52-D7E0DE161AD3}" type="pres">
      <dgm:prSet presAssocID="{9FBEC489-D28B-43C8-BE37-1231B4CF4906}" presName="composite" presStyleCnt="0"/>
      <dgm:spPr/>
    </dgm:pt>
    <dgm:pt modelId="{1D7A80D4-72D1-4A55-AB45-4C0E4CFABFB0}" type="pres">
      <dgm:prSet presAssocID="{9FBEC489-D28B-43C8-BE37-1231B4CF4906}" presName="parentText" presStyleLbl="alignNode1" presStyleIdx="3" presStyleCnt="4">
        <dgm:presLayoutVars>
          <dgm:chMax val="1"/>
          <dgm:bulletEnabled val="1"/>
        </dgm:presLayoutVars>
      </dgm:prSet>
      <dgm:spPr/>
    </dgm:pt>
    <dgm:pt modelId="{B0B4D05A-B23C-40D5-BB40-F1B89378346D}" type="pres">
      <dgm:prSet presAssocID="{9FBEC489-D28B-43C8-BE37-1231B4CF4906}" presName="descendantText" presStyleLbl="alignAcc1" presStyleIdx="3" presStyleCnt="4">
        <dgm:presLayoutVars>
          <dgm:bulletEnabled val="1"/>
        </dgm:presLayoutVars>
      </dgm:prSet>
      <dgm:spPr/>
    </dgm:pt>
  </dgm:ptLst>
  <dgm:cxnLst>
    <dgm:cxn modelId="{E2E6540A-14E2-4251-907F-682D71DED3AA}" srcId="{554EE0B1-551E-45A0-9344-794BE6F75328}" destId="{47B9AF44-F406-4E71-AF36-DAA2399C6FB7}" srcOrd="0" destOrd="0" parTransId="{316D7A35-A531-4E88-A879-E1EA08B8E678}" sibTransId="{17C8AC31-242F-461D-95E8-3552A94BD2CB}"/>
    <dgm:cxn modelId="{1EF6A91F-DBFD-477D-ADEE-46DC59ECDB56}" srcId="{B95194E5-52D4-47A4-8283-A376E2BBE190}" destId="{989F7967-19C0-4344-94B2-459EEE20AE8C}" srcOrd="1" destOrd="0" parTransId="{C0669541-931F-4A53-BFD2-5826FBB0C543}" sibTransId="{7E2FED55-1326-4FC9-922E-A90BD061363D}"/>
    <dgm:cxn modelId="{78C2E520-264B-4675-ADF4-9BB3C5A56F21}" type="presOf" srcId="{554EE0B1-551E-45A0-9344-794BE6F75328}" destId="{4D3164C1-5F39-4A9A-8DF3-B5BE1DA16E94}" srcOrd="0" destOrd="0" presId="urn:microsoft.com/office/officeart/2005/8/layout/chevron2"/>
    <dgm:cxn modelId="{8CF06D24-83B4-4821-B38A-4D1EEDF730EB}" type="presOf" srcId="{AB45AF19-6746-43B3-B303-E20197CB5A4A}" destId="{79D511D3-5848-4995-A45F-1C934CF76BFD}" srcOrd="0" destOrd="3" presId="urn:microsoft.com/office/officeart/2005/8/layout/chevron2"/>
    <dgm:cxn modelId="{05D25D3D-299A-476E-97CB-6FDF572B80B5}" srcId="{47B9AF44-F406-4E71-AF36-DAA2399C6FB7}" destId="{12B5A8E3-6E03-4546-8C1E-D083B5804DF1}" srcOrd="0" destOrd="0" parTransId="{CDD2A521-42AE-4294-ACB7-5AFBD95825D5}" sibTransId="{B81ED9C2-A200-42B9-BDD5-8C7C26B8FA5A}"/>
    <dgm:cxn modelId="{E5FE4843-5FFC-4ACF-A3A0-7E3951880DFB}" srcId="{69B234A8-8D11-4B68-AAEE-3DDCB693196A}" destId="{285A44CC-741D-4692-ABED-BA3E08EE3192}" srcOrd="0" destOrd="0" parTransId="{CF4AED24-E189-4C62-9418-C1E793F4A443}" sibTransId="{107536C6-FBA0-42C2-AFB9-0217708693E9}"/>
    <dgm:cxn modelId="{DA268343-50A6-4190-8F02-DB19B313082A}" srcId="{47B9AF44-F406-4E71-AF36-DAA2399C6FB7}" destId="{AB45AF19-6746-43B3-B303-E20197CB5A4A}" srcOrd="3" destOrd="0" parTransId="{695DB428-B8A3-4094-8D7D-05C4AA55395D}" sibTransId="{556FB0E1-AF82-4F97-AF0D-916F9B65D690}"/>
    <dgm:cxn modelId="{1165A945-F92A-4F66-8E40-288712B9BEF6}" srcId="{47B9AF44-F406-4E71-AF36-DAA2399C6FB7}" destId="{4C5A520A-9119-4EF9-83D0-FE9EA58D4C96}" srcOrd="1" destOrd="0" parTransId="{B2D8CDDA-9505-4D5C-9827-5A583C02094C}" sibTransId="{A97D5FC6-F0F7-4077-A169-D7C5D1686067}"/>
    <dgm:cxn modelId="{F4702047-FCF0-4865-8FB8-48B23B2B31EF}" srcId="{554EE0B1-551E-45A0-9344-794BE6F75328}" destId="{9FBEC489-D28B-43C8-BE37-1231B4CF4906}" srcOrd="3" destOrd="0" parTransId="{50EDF1ED-CB51-4CD5-830D-03A56CC3AB7E}" sibTransId="{C349182B-27A0-433F-B723-CB5CF1285ABA}"/>
    <dgm:cxn modelId="{E8703148-0970-4A4D-9E05-D8DF35AC8E42}" type="presOf" srcId="{F25E0495-7EFE-46CC-A37B-1017CA040413}" destId="{D1BFD4C6-F8BF-4125-B7FC-C0746167D763}" srcOrd="0" destOrd="0" presId="urn:microsoft.com/office/officeart/2005/8/layout/chevron2"/>
    <dgm:cxn modelId="{7D822D52-20A7-4D5E-9709-36CF9FD56BC4}" srcId="{9FBEC489-D28B-43C8-BE37-1231B4CF4906}" destId="{DB573E7F-4AAA-4E33-9270-53B8B9979F95}" srcOrd="0" destOrd="0" parTransId="{27937F3D-741E-4860-820B-F7294AD89099}" sibTransId="{BD149A31-FA5E-4309-8168-08362D779CB6}"/>
    <dgm:cxn modelId="{954CC361-212C-43D6-B56F-2EA6B689B29B}" type="presOf" srcId="{989F7967-19C0-4344-94B2-459EEE20AE8C}" destId="{D1BFD4C6-F8BF-4125-B7FC-C0746167D763}" srcOrd="0" destOrd="1" presId="urn:microsoft.com/office/officeart/2005/8/layout/chevron2"/>
    <dgm:cxn modelId="{9E45BC64-4C4C-4D3A-8721-5CD71B14525F}" type="presOf" srcId="{12B5A8E3-6E03-4546-8C1E-D083B5804DF1}" destId="{79D511D3-5848-4995-A45F-1C934CF76BFD}" srcOrd="0" destOrd="0" presId="urn:microsoft.com/office/officeart/2005/8/layout/chevron2"/>
    <dgm:cxn modelId="{541C1A69-1115-441B-921E-E185B8ABD986}" type="presOf" srcId="{82038D11-072C-44D6-99BF-8991EB5D1F08}" destId="{79D511D3-5848-4995-A45F-1C934CF76BFD}" srcOrd="0" destOrd="2" presId="urn:microsoft.com/office/officeart/2005/8/layout/chevron2"/>
    <dgm:cxn modelId="{E05F216B-9AEB-4249-B0E6-86BEA9A14BD6}" type="presOf" srcId="{9FBEC489-D28B-43C8-BE37-1231B4CF4906}" destId="{1D7A80D4-72D1-4A55-AB45-4C0E4CFABFB0}" srcOrd="0" destOrd="0" presId="urn:microsoft.com/office/officeart/2005/8/layout/chevron2"/>
    <dgm:cxn modelId="{2664D06B-D899-4AC6-B281-35BA0B3F913A}" type="presOf" srcId="{EE05647C-342D-4929-9C9A-9B4E25FBF40A}" destId="{B0B4D05A-B23C-40D5-BB40-F1B89378346D}" srcOrd="0" destOrd="2" presId="urn:microsoft.com/office/officeart/2005/8/layout/chevron2"/>
    <dgm:cxn modelId="{869A9178-AFBF-4C79-831A-ACF97FAB8547}" srcId="{B95194E5-52D4-47A4-8283-A376E2BBE190}" destId="{4D379D87-062D-420C-9CFF-A0BB2250C8CD}" srcOrd="2" destOrd="0" parTransId="{6CECC027-40F8-433B-B953-7273E247BD8B}" sibTransId="{D7A57D0D-EA0C-4E8C-86C8-F8C683E4D450}"/>
    <dgm:cxn modelId="{B38FA57C-03C2-443F-B388-473AEB4D35DC}" srcId="{47B9AF44-F406-4E71-AF36-DAA2399C6FB7}" destId="{82038D11-072C-44D6-99BF-8991EB5D1F08}" srcOrd="2" destOrd="0" parTransId="{56600898-64B6-402E-8413-EB8E2AF92EC7}" sibTransId="{F5E5428A-58F4-4045-A44E-CFDF6119284D}"/>
    <dgm:cxn modelId="{D2CF638F-8808-49D5-A867-B1291D1D009B}" type="presOf" srcId="{47B9AF44-F406-4E71-AF36-DAA2399C6FB7}" destId="{EA8E8662-F1F8-4A98-8DC7-9FDA6B8B0128}" srcOrd="0" destOrd="0" presId="urn:microsoft.com/office/officeart/2005/8/layout/chevron2"/>
    <dgm:cxn modelId="{8A9BA591-A8C8-465C-BB32-D66743992A54}" type="presOf" srcId="{B95194E5-52D4-47A4-8283-A376E2BBE190}" destId="{D55ACA37-2299-4445-A195-0A3A139E56E9}" srcOrd="0" destOrd="0" presId="urn:microsoft.com/office/officeart/2005/8/layout/chevron2"/>
    <dgm:cxn modelId="{39D10C96-F2EE-4E8F-94A0-CF90E8EBF390}" srcId="{B95194E5-52D4-47A4-8283-A376E2BBE190}" destId="{F25E0495-7EFE-46CC-A37B-1017CA040413}" srcOrd="0" destOrd="0" parTransId="{625975A8-F94D-4336-8D7E-2B593B7CD8C5}" sibTransId="{44FDBF4A-BAF4-4A21-8434-14C11B352A39}"/>
    <dgm:cxn modelId="{F0389C96-FDBF-4EEB-BCD5-4B100B1E698D}" type="presOf" srcId="{18287D80-92E3-4E17-B8CA-5B335A57BEAA}" destId="{B0B4D05A-B23C-40D5-BB40-F1B89378346D}" srcOrd="0" destOrd="1" presId="urn:microsoft.com/office/officeart/2005/8/layout/chevron2"/>
    <dgm:cxn modelId="{4F98FFA5-C6FD-40BF-8BD8-EB6DE40BFD51}" type="presOf" srcId="{4C5A520A-9119-4EF9-83D0-FE9EA58D4C96}" destId="{79D511D3-5848-4995-A45F-1C934CF76BFD}" srcOrd="0" destOrd="1" presId="urn:microsoft.com/office/officeart/2005/8/layout/chevron2"/>
    <dgm:cxn modelId="{FB311EB2-191F-4479-B91A-8A7199A5F8EF}" type="presOf" srcId="{DB573E7F-4AAA-4E33-9270-53B8B9979F95}" destId="{B0B4D05A-B23C-40D5-BB40-F1B89378346D}" srcOrd="0" destOrd="0" presId="urn:microsoft.com/office/officeart/2005/8/layout/chevron2"/>
    <dgm:cxn modelId="{13D032B5-BFB7-4483-BDD1-62356A0BBBE4}" type="presOf" srcId="{36192DB9-EA0C-4609-823E-185BEAEDEA25}" destId="{D1BFD4C6-F8BF-4125-B7FC-C0746167D763}" srcOrd="0" destOrd="3" presId="urn:microsoft.com/office/officeart/2005/8/layout/chevron2"/>
    <dgm:cxn modelId="{772E88BB-FBFE-4BF9-B5C6-0321B81D2972}" type="presOf" srcId="{69B234A8-8D11-4B68-AAEE-3DDCB693196A}" destId="{FA6BC1A4-D10D-40A3-8A34-4B8F33E1D98D}" srcOrd="0" destOrd="0" presId="urn:microsoft.com/office/officeart/2005/8/layout/chevron2"/>
    <dgm:cxn modelId="{5E4225C4-A6D6-48B6-A16C-ED1574CB70B8}" srcId="{554EE0B1-551E-45A0-9344-794BE6F75328}" destId="{69B234A8-8D11-4B68-AAEE-3DDCB693196A}" srcOrd="2" destOrd="0" parTransId="{DFA686D5-801A-478F-B915-B720C0E8A5F6}" sibTransId="{042B510F-CABC-4AFD-BD17-3D36A1DCD1AE}"/>
    <dgm:cxn modelId="{7F8313CD-02C3-4F2A-95AA-49DC3E9B3387}" type="presOf" srcId="{4D379D87-062D-420C-9CFF-A0BB2250C8CD}" destId="{D1BFD4C6-F8BF-4125-B7FC-C0746167D763}" srcOrd="0" destOrd="2" presId="urn:microsoft.com/office/officeart/2005/8/layout/chevron2"/>
    <dgm:cxn modelId="{31FCBECF-CF47-42E7-8EBD-EEA8589E67F3}" type="presOf" srcId="{285A44CC-741D-4692-ABED-BA3E08EE3192}" destId="{0067B94F-3765-4939-B0DF-B3DE7871DF7A}" srcOrd="0" destOrd="0" presId="urn:microsoft.com/office/officeart/2005/8/layout/chevron2"/>
    <dgm:cxn modelId="{9CCE0FD1-63E0-406A-85A1-A377EA52B5F6}" srcId="{554EE0B1-551E-45A0-9344-794BE6F75328}" destId="{B95194E5-52D4-47A4-8283-A376E2BBE190}" srcOrd="1" destOrd="0" parTransId="{4639DD92-51CF-4495-AB1B-8A851275E88A}" sibTransId="{A51F1E0E-834C-4279-A981-6B0D4A40C4B6}"/>
    <dgm:cxn modelId="{DB839BE5-C1DD-458B-A916-57DA124B9701}" type="presOf" srcId="{35EDE6A9-7F97-4004-9F8D-B44A20394C40}" destId="{0067B94F-3765-4939-B0DF-B3DE7871DF7A}" srcOrd="0" destOrd="1" presId="urn:microsoft.com/office/officeart/2005/8/layout/chevron2"/>
    <dgm:cxn modelId="{9D3C80EE-1C8B-4B28-A2C8-F1BDBF20CDFE}" srcId="{69B234A8-8D11-4B68-AAEE-3DDCB693196A}" destId="{35EDE6A9-7F97-4004-9F8D-B44A20394C40}" srcOrd="1" destOrd="0" parTransId="{8FD75FBD-DC86-4BE0-B4B2-C39DE3870F45}" sibTransId="{A4760172-4635-4C30-B1EF-57B864E6C96A}"/>
    <dgm:cxn modelId="{130DC7EE-478E-4126-BB2F-F193B917B484}" srcId="{B95194E5-52D4-47A4-8283-A376E2BBE190}" destId="{36192DB9-EA0C-4609-823E-185BEAEDEA25}" srcOrd="3" destOrd="0" parTransId="{E5EC75D4-14B1-4A92-ACC5-06FF0A052A3E}" sibTransId="{E16B2A18-8B5C-4C1A-9E9F-9E487E1226D6}"/>
    <dgm:cxn modelId="{7525BDEF-88FB-487A-A20A-58E7AC33E84E}" srcId="{9FBEC489-D28B-43C8-BE37-1231B4CF4906}" destId="{EE05647C-342D-4929-9C9A-9B4E25FBF40A}" srcOrd="2" destOrd="0" parTransId="{BC8C0CB6-ACF0-4593-B278-5E37E4F1B065}" sibTransId="{8258443F-A21B-4C61-86D0-F825DCF8E680}"/>
    <dgm:cxn modelId="{DF2F75F0-98F6-4FF6-B707-7D3F77614059}" srcId="{9FBEC489-D28B-43C8-BE37-1231B4CF4906}" destId="{18287D80-92E3-4E17-B8CA-5B335A57BEAA}" srcOrd="1" destOrd="0" parTransId="{93797D16-DCEA-41F2-8EF2-EB348C85BE28}" sibTransId="{692B81C3-55AE-4413-8829-691E76AB17B6}"/>
    <dgm:cxn modelId="{4107D9E8-85F5-40E0-A901-461E7091A27A}" type="presParOf" srcId="{4D3164C1-5F39-4A9A-8DF3-B5BE1DA16E94}" destId="{97CDD380-82CF-4DD8-AEA8-2D23A70F29F7}" srcOrd="0" destOrd="0" presId="urn:microsoft.com/office/officeart/2005/8/layout/chevron2"/>
    <dgm:cxn modelId="{070A0D91-D2DE-4A2F-85BF-53F77F4C3E7E}" type="presParOf" srcId="{97CDD380-82CF-4DD8-AEA8-2D23A70F29F7}" destId="{EA8E8662-F1F8-4A98-8DC7-9FDA6B8B0128}" srcOrd="0" destOrd="0" presId="urn:microsoft.com/office/officeart/2005/8/layout/chevron2"/>
    <dgm:cxn modelId="{38A7025F-1F82-4934-A0B0-B1E9CE9F9625}" type="presParOf" srcId="{97CDD380-82CF-4DD8-AEA8-2D23A70F29F7}" destId="{79D511D3-5848-4995-A45F-1C934CF76BFD}" srcOrd="1" destOrd="0" presId="urn:microsoft.com/office/officeart/2005/8/layout/chevron2"/>
    <dgm:cxn modelId="{B91503A4-3BEC-4681-A8B7-B13DC0035C32}" type="presParOf" srcId="{4D3164C1-5F39-4A9A-8DF3-B5BE1DA16E94}" destId="{1F86602C-A3C9-4649-BDDB-F73D4042C14B}" srcOrd="1" destOrd="0" presId="urn:microsoft.com/office/officeart/2005/8/layout/chevron2"/>
    <dgm:cxn modelId="{A4A6C00E-0239-40B6-BB46-475E225DE50D}" type="presParOf" srcId="{4D3164C1-5F39-4A9A-8DF3-B5BE1DA16E94}" destId="{035987E2-27DD-4066-9FDC-F04822A55AAA}" srcOrd="2" destOrd="0" presId="urn:microsoft.com/office/officeart/2005/8/layout/chevron2"/>
    <dgm:cxn modelId="{0D1C02B0-2A3B-457D-BCF3-C9864910C882}" type="presParOf" srcId="{035987E2-27DD-4066-9FDC-F04822A55AAA}" destId="{D55ACA37-2299-4445-A195-0A3A139E56E9}" srcOrd="0" destOrd="0" presId="urn:microsoft.com/office/officeart/2005/8/layout/chevron2"/>
    <dgm:cxn modelId="{0DBA08C3-ABBD-443F-A571-0760BF6A6392}" type="presParOf" srcId="{035987E2-27DD-4066-9FDC-F04822A55AAA}" destId="{D1BFD4C6-F8BF-4125-B7FC-C0746167D763}" srcOrd="1" destOrd="0" presId="urn:microsoft.com/office/officeart/2005/8/layout/chevron2"/>
    <dgm:cxn modelId="{2C37EAF7-50CB-4823-B32A-F26594D60030}" type="presParOf" srcId="{4D3164C1-5F39-4A9A-8DF3-B5BE1DA16E94}" destId="{E8A6FC84-699C-4068-BC20-73AF73022DCB}" srcOrd="3" destOrd="0" presId="urn:microsoft.com/office/officeart/2005/8/layout/chevron2"/>
    <dgm:cxn modelId="{6C874476-F54D-43AE-AEF3-4A5DDF6F7949}" type="presParOf" srcId="{4D3164C1-5F39-4A9A-8DF3-B5BE1DA16E94}" destId="{19520FFC-48E6-4921-9FEA-65746BAD0058}" srcOrd="4" destOrd="0" presId="urn:microsoft.com/office/officeart/2005/8/layout/chevron2"/>
    <dgm:cxn modelId="{97FCE732-4E25-4CE8-9B8B-231EE48A3A2D}" type="presParOf" srcId="{19520FFC-48E6-4921-9FEA-65746BAD0058}" destId="{FA6BC1A4-D10D-40A3-8A34-4B8F33E1D98D}" srcOrd="0" destOrd="0" presId="urn:microsoft.com/office/officeart/2005/8/layout/chevron2"/>
    <dgm:cxn modelId="{3D385A4F-59B3-4C87-97BF-D27414BD1DCB}" type="presParOf" srcId="{19520FFC-48E6-4921-9FEA-65746BAD0058}" destId="{0067B94F-3765-4939-B0DF-B3DE7871DF7A}" srcOrd="1" destOrd="0" presId="urn:microsoft.com/office/officeart/2005/8/layout/chevron2"/>
    <dgm:cxn modelId="{8C9E3BCA-CCEA-46C5-A24F-ECEFB8BDA27D}" type="presParOf" srcId="{4D3164C1-5F39-4A9A-8DF3-B5BE1DA16E94}" destId="{A6F39761-AD36-4148-A56B-D59965338977}" srcOrd="5" destOrd="0" presId="urn:microsoft.com/office/officeart/2005/8/layout/chevron2"/>
    <dgm:cxn modelId="{B5457F81-A865-4681-BCF4-3551B4C66A8F}" type="presParOf" srcId="{4D3164C1-5F39-4A9A-8DF3-B5BE1DA16E94}" destId="{6007911C-391E-4243-9F52-D7E0DE161AD3}" srcOrd="6" destOrd="0" presId="urn:microsoft.com/office/officeart/2005/8/layout/chevron2"/>
    <dgm:cxn modelId="{C7B0E09B-8977-466D-A18F-9FFB925C44F2}" type="presParOf" srcId="{6007911C-391E-4243-9F52-D7E0DE161AD3}" destId="{1D7A80D4-72D1-4A55-AB45-4C0E4CFABFB0}" srcOrd="0" destOrd="0" presId="urn:microsoft.com/office/officeart/2005/8/layout/chevron2"/>
    <dgm:cxn modelId="{3A207323-DAFD-40C9-8DA8-19EC9565D961}" type="presParOf" srcId="{6007911C-391E-4243-9F52-D7E0DE161AD3}" destId="{B0B4D05A-B23C-40D5-BB40-F1B89378346D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2DD2E0E-F49E-4BE0-95A3-709CC9C0A47F}">
      <dsp:nvSpPr>
        <dsp:cNvPr id="0" name=""/>
        <dsp:cNvSpPr/>
      </dsp:nvSpPr>
      <dsp:spPr>
        <a:xfrm>
          <a:off x="0" y="436958"/>
          <a:ext cx="7101795" cy="13041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1178" tIns="479044" rIns="551178" bIns="163576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 dirty="0">
              <a:latin typeface="Aptos Display"/>
            </a:rPr>
            <a:t>All data baseline-August 2024 will be </a:t>
          </a:r>
          <a:r>
            <a:rPr lang="en-US" sz="2300" b="1" kern="1200" dirty="0">
              <a:latin typeface="Aptos Display"/>
            </a:rPr>
            <a:t>due on September 27th, 2024,</a:t>
          </a:r>
          <a:r>
            <a:rPr lang="en-US" sz="2300" kern="1200" dirty="0">
              <a:latin typeface="Aptos Display"/>
            </a:rPr>
            <a:t> for award consideration.</a:t>
          </a:r>
          <a:endParaRPr lang="en-US" sz="2300" b="1" kern="1200" dirty="0">
            <a:latin typeface="Aptos Display"/>
          </a:endParaRPr>
        </a:p>
      </dsp:txBody>
      <dsp:txXfrm>
        <a:off x="0" y="436958"/>
        <a:ext cx="7101795" cy="1304100"/>
      </dsp:txXfrm>
    </dsp:sp>
    <dsp:sp modelId="{717BC3C2-DA22-4D51-A406-9086CACDDF9B}">
      <dsp:nvSpPr>
        <dsp:cNvPr id="0" name=""/>
        <dsp:cNvSpPr/>
      </dsp:nvSpPr>
      <dsp:spPr>
        <a:xfrm>
          <a:off x="355089" y="97478"/>
          <a:ext cx="4971256" cy="67896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7902" tIns="0" rIns="187902" bIns="0" numCol="1" spcCol="1270" anchor="ctr" anchorCtr="0">
          <a:noAutofit/>
        </a:bodyPr>
        <a:lstStyle/>
        <a:p>
          <a:pPr marL="0" lvl="0" indent="0" algn="l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>
              <a:latin typeface="Aptos Display"/>
            </a:rPr>
            <a:t> </a:t>
          </a:r>
          <a:r>
            <a:rPr lang="en-US" sz="2300" b="1" kern="1200" dirty="0">
              <a:solidFill>
                <a:schemeClr val="tx1"/>
              </a:solidFill>
              <a:latin typeface="Aptos Display"/>
            </a:rPr>
            <a:t>Submit your Data! </a:t>
          </a:r>
        </a:p>
      </dsp:txBody>
      <dsp:txXfrm>
        <a:off x="388233" y="130622"/>
        <a:ext cx="4904968" cy="612672"/>
      </dsp:txXfrm>
    </dsp:sp>
    <dsp:sp modelId="{6C17968B-3B40-4894-B40F-C49EEEEE87D3}">
      <dsp:nvSpPr>
        <dsp:cNvPr id="0" name=""/>
        <dsp:cNvSpPr/>
      </dsp:nvSpPr>
      <dsp:spPr>
        <a:xfrm>
          <a:off x="0" y="2204738"/>
          <a:ext cx="7101795" cy="13041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1162435"/>
              <a:satOff val="5350"/>
              <a:lumOff val="-901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1178" tIns="479044" rIns="551178" bIns="163576" numCol="1" spcCol="1270" anchor="t" anchorCtr="0">
          <a:noAutofit/>
        </a:bodyPr>
        <a:lstStyle/>
        <a:p>
          <a:pPr marL="228600" lvl="1" indent="-228600" algn="l" defTabSz="10223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 dirty="0">
              <a:latin typeface="Aptos Display"/>
            </a:rPr>
            <a:t>All hospital teams are asked to submit an abstract on their QI work (can be in progress).</a:t>
          </a:r>
        </a:p>
      </dsp:txBody>
      <dsp:txXfrm>
        <a:off x="0" y="2204738"/>
        <a:ext cx="7101795" cy="1304100"/>
      </dsp:txXfrm>
    </dsp:sp>
    <dsp:sp modelId="{C8372599-BDA9-4E62-9184-ABA50695DEAE}">
      <dsp:nvSpPr>
        <dsp:cNvPr id="0" name=""/>
        <dsp:cNvSpPr/>
      </dsp:nvSpPr>
      <dsp:spPr>
        <a:xfrm>
          <a:off x="355089" y="1865258"/>
          <a:ext cx="4971256" cy="678960"/>
        </a:xfrm>
        <a:prstGeom prst="roundRect">
          <a:avLst/>
        </a:prstGeom>
        <a:solidFill>
          <a:schemeClr val="accent3">
            <a:hueOff val="1162435"/>
            <a:satOff val="5350"/>
            <a:lumOff val="-901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7902" tIns="0" rIns="187902" bIns="0" numCol="1" spcCol="1270" anchor="ctr" anchorCtr="0">
          <a:noAutofit/>
        </a:bodyPr>
        <a:lstStyle/>
        <a:p>
          <a:pPr marL="0" lvl="0" indent="0" algn="l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b="1" kern="1200" dirty="0">
              <a:solidFill>
                <a:schemeClr val="tx1"/>
              </a:solidFill>
              <a:latin typeface="Aptos Display"/>
            </a:rPr>
            <a:t>Call for QI Abstracts! </a:t>
          </a:r>
        </a:p>
      </dsp:txBody>
      <dsp:txXfrm>
        <a:off x="388233" y="1898402"/>
        <a:ext cx="4904968" cy="612672"/>
      </dsp:txXfrm>
    </dsp:sp>
    <dsp:sp modelId="{E42B4496-FBF8-4DC9-AF60-BFE77B144112}">
      <dsp:nvSpPr>
        <dsp:cNvPr id="0" name=""/>
        <dsp:cNvSpPr/>
      </dsp:nvSpPr>
      <dsp:spPr>
        <a:xfrm>
          <a:off x="0" y="3972518"/>
          <a:ext cx="7101795" cy="199237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2324871"/>
              <a:satOff val="10701"/>
              <a:lumOff val="-1803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1178" tIns="479044" rIns="551178" bIns="163576" numCol="1" spcCol="1270" anchor="t" anchorCtr="0">
          <a:noAutofit/>
        </a:bodyPr>
        <a:lstStyle/>
        <a:p>
          <a:pPr marL="228600" lvl="1" indent="-228600" algn="l" defTabSz="10223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 dirty="0">
              <a:latin typeface="Aptos Display"/>
            </a:rPr>
            <a:t>We want to hear from you! </a:t>
          </a:r>
          <a:r>
            <a:rPr lang="en-US" sz="2300" b="1" kern="1200" dirty="0">
              <a:latin typeface="Aptos Display"/>
            </a:rPr>
            <a:t>Survey OPEN </a:t>
          </a:r>
          <a:r>
            <a:rPr lang="en-US" sz="2300" b="1" kern="1200" dirty="0">
              <a:latin typeface="Aptos Display"/>
              <a:hlinkClick xmlns:r="http://schemas.openxmlformats.org/officeDocument/2006/relationships" r:id="rId1"/>
            </a:rPr>
            <a:t>NOW.</a:t>
          </a:r>
          <a:endParaRPr lang="en-US" sz="2300" b="1" kern="1200" dirty="0">
            <a:latin typeface="Aptos Display"/>
          </a:endParaRPr>
        </a:p>
        <a:p>
          <a:pPr marL="228600" lvl="1" indent="-228600" algn="l" defTabSz="10223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 dirty="0">
              <a:latin typeface="Aptos Display"/>
            </a:rPr>
            <a:t>This is a great opportunity to share your teams' thoughts &amp; insights reflecting on 2024 and planning for 2025!</a:t>
          </a:r>
        </a:p>
      </dsp:txBody>
      <dsp:txXfrm>
        <a:off x="0" y="3972518"/>
        <a:ext cx="7101795" cy="1992375"/>
      </dsp:txXfrm>
    </dsp:sp>
    <dsp:sp modelId="{ECEB8BDC-F220-41C1-B502-A535EC67DE59}">
      <dsp:nvSpPr>
        <dsp:cNvPr id="0" name=""/>
        <dsp:cNvSpPr/>
      </dsp:nvSpPr>
      <dsp:spPr>
        <a:xfrm>
          <a:off x="355089" y="3633038"/>
          <a:ext cx="4971256" cy="678960"/>
        </a:xfrm>
        <a:prstGeom prst="roundRect">
          <a:avLst/>
        </a:prstGeom>
        <a:solidFill>
          <a:schemeClr val="accent3">
            <a:hueOff val="2324871"/>
            <a:satOff val="10701"/>
            <a:lumOff val="-1803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7902" tIns="0" rIns="187902" bIns="0" numCol="1" spcCol="1270" anchor="ctr" anchorCtr="0">
          <a:noAutofit/>
        </a:bodyPr>
        <a:lstStyle/>
        <a:p>
          <a:pPr marL="0" lvl="0" indent="0" algn="l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b="1" u="none" kern="1200" dirty="0">
              <a:solidFill>
                <a:schemeClr val="tx1"/>
              </a:solidFill>
              <a:latin typeface="Aptos Display"/>
            </a:rPr>
            <a:t>ILPQC Annual Conference </a:t>
          </a:r>
          <a:r>
            <a:rPr lang="en-US" sz="2300" b="1" kern="1200" dirty="0">
              <a:solidFill>
                <a:schemeClr val="tx1"/>
              </a:solidFill>
              <a:latin typeface="Aptos Display"/>
            </a:rPr>
            <a:t>Survey! </a:t>
          </a:r>
        </a:p>
      </dsp:txBody>
      <dsp:txXfrm>
        <a:off x="388233" y="3666182"/>
        <a:ext cx="4904968" cy="61267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8E8662-F1F8-4A98-8DC7-9FDA6B8B0128}">
      <dsp:nvSpPr>
        <dsp:cNvPr id="0" name=""/>
        <dsp:cNvSpPr/>
      </dsp:nvSpPr>
      <dsp:spPr>
        <a:xfrm rot="5400000">
          <a:off x="-189250" y="192676"/>
          <a:ext cx="1261672" cy="88317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Prenatal  Office</a:t>
          </a:r>
        </a:p>
      </dsp:txBody>
      <dsp:txXfrm rot="-5400000">
        <a:off x="1" y="445010"/>
        <a:ext cx="883170" cy="378502"/>
      </dsp:txXfrm>
    </dsp:sp>
    <dsp:sp modelId="{79D511D3-5848-4995-A45F-1C934CF76BFD}">
      <dsp:nvSpPr>
        <dsp:cNvPr id="0" name=""/>
        <dsp:cNvSpPr/>
      </dsp:nvSpPr>
      <dsp:spPr>
        <a:xfrm rot="5400000">
          <a:off x="5514478" y="-4627881"/>
          <a:ext cx="820086" cy="1008270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SDOH questionnaire is sent via MyChart after 1</a:t>
          </a:r>
          <a:r>
            <a:rPr lang="en-US" sz="1200" kern="1200" baseline="30000" dirty="0"/>
            <a:t>st</a:t>
          </a:r>
          <a:r>
            <a:rPr lang="en-US" sz="1200" kern="1200" dirty="0"/>
            <a:t> prenatal visit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High (</a:t>
          </a:r>
          <a:r>
            <a:rPr lang="en-US" sz="1200" kern="1200" dirty="0">
              <a:solidFill>
                <a:schemeClr val="tx1"/>
              </a:solidFill>
            </a:rPr>
            <a:t>red) </a:t>
          </a:r>
          <a:r>
            <a:rPr lang="en-US" sz="1200" kern="1200" dirty="0"/>
            <a:t>or cautionary</a:t>
          </a:r>
          <a:r>
            <a:rPr lang="en-US" sz="1200" kern="1200" dirty="0">
              <a:solidFill>
                <a:schemeClr val="tx1"/>
              </a:solidFill>
            </a:rPr>
            <a:t> (yellow</a:t>
          </a:r>
          <a:r>
            <a:rPr lang="en-US" sz="1200" kern="1200" dirty="0"/>
            <a:t>) results trigger a message to the RN in-basket pool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Office follows up with patient by phone or at the next office visit with resources (findhelp.org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Documented in EPIC that resources were provided</a:t>
          </a:r>
        </a:p>
      </dsp:txBody>
      <dsp:txXfrm rot="-5400000">
        <a:off x="883171" y="43459"/>
        <a:ext cx="10042669" cy="740020"/>
      </dsp:txXfrm>
    </dsp:sp>
    <dsp:sp modelId="{D55ACA37-2299-4445-A195-0A3A139E56E9}">
      <dsp:nvSpPr>
        <dsp:cNvPr id="0" name=""/>
        <dsp:cNvSpPr/>
      </dsp:nvSpPr>
      <dsp:spPr>
        <a:xfrm rot="5400000">
          <a:off x="-189250" y="1307873"/>
          <a:ext cx="1261672" cy="88317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L&amp;D</a:t>
          </a:r>
        </a:p>
      </dsp:txBody>
      <dsp:txXfrm rot="-5400000">
        <a:off x="1" y="1560207"/>
        <a:ext cx="883170" cy="378502"/>
      </dsp:txXfrm>
    </dsp:sp>
    <dsp:sp modelId="{D1BFD4C6-F8BF-4125-B7FC-C0746167D763}">
      <dsp:nvSpPr>
        <dsp:cNvPr id="0" name=""/>
        <dsp:cNvSpPr/>
      </dsp:nvSpPr>
      <dsp:spPr>
        <a:xfrm rot="5400000">
          <a:off x="5514478" y="-3512684"/>
          <a:ext cx="820086" cy="1008270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All patients are screened with the SDOH questionnaire at every encounter to L&amp;D (triage, labor, antepartum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A BPA fires for a social service consult for all High Risk (RED). Housing is the only exception, if Medium Risk (yellow) the BPA fires for a consult.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If consult is ordered, the patient is seen after delivery in MB or antepartum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If social services is unable to see the patient (triage) or the patient is leaving prior to being seen, then the RN provides resources. </a:t>
          </a:r>
        </a:p>
      </dsp:txBody>
      <dsp:txXfrm rot="-5400000">
        <a:off x="883171" y="1158656"/>
        <a:ext cx="10042669" cy="740020"/>
      </dsp:txXfrm>
    </dsp:sp>
    <dsp:sp modelId="{FA6BC1A4-D10D-40A3-8A34-4B8F33E1D98D}">
      <dsp:nvSpPr>
        <dsp:cNvPr id="0" name=""/>
        <dsp:cNvSpPr/>
      </dsp:nvSpPr>
      <dsp:spPr>
        <a:xfrm rot="5400000">
          <a:off x="-189250" y="2423070"/>
          <a:ext cx="1261672" cy="88317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Mother-Baby</a:t>
          </a:r>
        </a:p>
      </dsp:txBody>
      <dsp:txXfrm rot="-5400000">
        <a:off x="1" y="2675404"/>
        <a:ext cx="883170" cy="378502"/>
      </dsp:txXfrm>
    </dsp:sp>
    <dsp:sp modelId="{0067B94F-3765-4939-B0DF-B3DE7871DF7A}">
      <dsp:nvSpPr>
        <dsp:cNvPr id="0" name=""/>
        <dsp:cNvSpPr/>
      </dsp:nvSpPr>
      <dsp:spPr>
        <a:xfrm rot="5400000">
          <a:off x="5514478" y="-2397487"/>
          <a:ext cx="820086" cy="1008270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Social service consult is provided in MB and patients are provided resource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SDOH responses from the birthing parent’s chart flow into the newborn’s chart</a:t>
          </a:r>
        </a:p>
      </dsp:txBody>
      <dsp:txXfrm rot="-5400000">
        <a:off x="883171" y="2273853"/>
        <a:ext cx="10042669" cy="740020"/>
      </dsp:txXfrm>
    </dsp:sp>
    <dsp:sp modelId="{1D7A80D4-72D1-4A55-AB45-4C0E4CFABFB0}">
      <dsp:nvSpPr>
        <dsp:cNvPr id="0" name=""/>
        <dsp:cNvSpPr/>
      </dsp:nvSpPr>
      <dsp:spPr>
        <a:xfrm rot="5400000">
          <a:off x="-189250" y="3538267"/>
          <a:ext cx="1261672" cy="88317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NICU</a:t>
          </a:r>
        </a:p>
      </dsp:txBody>
      <dsp:txXfrm rot="-5400000">
        <a:off x="1" y="3790601"/>
        <a:ext cx="883170" cy="378502"/>
      </dsp:txXfrm>
    </dsp:sp>
    <dsp:sp modelId="{B0B4D05A-B23C-40D5-BB40-F1B89378346D}">
      <dsp:nvSpPr>
        <dsp:cNvPr id="0" name=""/>
        <dsp:cNvSpPr/>
      </dsp:nvSpPr>
      <dsp:spPr>
        <a:xfrm rot="5400000">
          <a:off x="5514478" y="-1282290"/>
          <a:ext cx="820086" cy="1008270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Social work meets with all families and reviews the SDOH questionnaire result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Resources are provided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Case management and social work meet with family and reviews SDOH domains again prior to discharge</a:t>
          </a:r>
        </a:p>
      </dsp:txBody>
      <dsp:txXfrm rot="-5400000">
        <a:off x="883171" y="3389050"/>
        <a:ext cx="10042669" cy="7400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55676F-E4C5-4D33-BAAB-109D8823ADFB}" type="datetimeFigureOut">
              <a:t>9/16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81E894-69EF-44B3-8C20-634E1DDFDE19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4924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>
              <a:cs typeface="Calibri"/>
            </a:endParaRPr>
          </a:p>
        </p:txBody>
      </p:sp>
      <p:sp>
        <p:nvSpPr>
          <p:cNvPr id="4096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EE33F94C-C7C4-40F1-8D43-2A90996B2406}" type="slidenum">
              <a:rPr lang="en-US" altLang="en-US">
                <a:latin typeface="Calibri" pitchFamily="34" charset="0"/>
              </a:rPr>
              <a:pPr/>
              <a:t>3</a:t>
            </a:fld>
            <a:endParaRPr lang="en-US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62733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en-US"/>
              <a:t>Q3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Google Shape;327;g1fe6f3f6108_0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8" name="Google Shape;328;g1fe6f3f6108_0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endParaRPr lang="en-US">
              <a:ea typeface="Calibri"/>
              <a:cs typeface="Calibri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Google Shape;327;g1fe6f3f6108_0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8" name="Google Shape;328;g1fe6f3f6108_0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endParaRPr lang="en-US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431333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Google Shape;327;g1fe6f3f6108_0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8" name="Google Shape;328;g1fe6f3f6108_0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endParaRPr lang="en-US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6778405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Google Shape;327;g1fe6f3f6108_0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8" name="Google Shape;328;g1fe6f3f6108_0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endParaRPr lang="en-US">
              <a:ea typeface="Calibri"/>
              <a:cs typeface="Calibri"/>
            </a:endParaRP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0260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Google Shape;327;g1fe6f3f6108_0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8" name="Google Shape;328;g1fe6f3f6108_0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endParaRPr lang="en-US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3710352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Google Shape;327;g1fe6f3f6108_0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8" name="Google Shape;328;g1fe6f3f6108_0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endParaRPr lang="en-US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859555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" name="Google Shape;249;g1feeecf9ced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0" name="Google Shape;250;g1feeecf9ced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3953788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" name="Google Shape;249;g1feeecf9ced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0" name="Google Shape;250;g1feeecf9ced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99673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" name="Google Shape;249;g1feeecf9ced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0" name="Google Shape;250;g1feeecf9ced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876380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65" name="Google Shape;365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6" name="Google Shape;366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7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6665212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" name="Google Shape;249;g1feeecf9ced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0" name="Google Shape;250;g1feeecf9ced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3350553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1CBA37-6A6F-455F-8554-17ACE314944D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65340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" name="Google Shape;249;g1feeecf9ced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0" name="Google Shape;250;g1feeecf9ced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7411444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" name="Google Shape;249;g1feeecf9ced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0" name="Google Shape;250;g1feeecf9ced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1229542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0020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5" name="Google Shape;435;g956160e29b_0_8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36" name="Google Shape;436;g956160e29b_0_81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3395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23559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56977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en-US"/>
              <a:t>Q1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en-US"/>
              <a:t>Q3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en-US"/>
              <a:t>Q3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45.emf"/><Relationship Id="rId5" Type="http://schemas.openxmlformats.org/officeDocument/2006/relationships/image" Target="../media/image44.emf"/><Relationship Id="rId4" Type="http://schemas.openxmlformats.org/officeDocument/2006/relationships/image" Target="../media/image43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45.emf"/><Relationship Id="rId5" Type="http://schemas.openxmlformats.org/officeDocument/2006/relationships/image" Target="../media/image44.emf"/><Relationship Id="rId4" Type="http://schemas.openxmlformats.org/officeDocument/2006/relationships/image" Target="../media/image43.emf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6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3.emf"/><Relationship Id="rId4" Type="http://schemas.openxmlformats.org/officeDocument/2006/relationships/oleObject" Target="../embeddings/oleObject3.bin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8.jpe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43.emf"/><Relationship Id="rId4" Type="http://schemas.openxmlformats.org/officeDocument/2006/relationships/oleObject" Target="../embeddings/oleObject5.bin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4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Layouts/_rels/slideLayout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2.xml"/></Relationships>
</file>

<file path=ppt/slideLayouts/_rels/slideLayout4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6" Type="http://schemas.openxmlformats.org/officeDocument/2006/relationships/image" Target="../media/image45.emf"/><Relationship Id="rId5" Type="http://schemas.openxmlformats.org/officeDocument/2006/relationships/image" Target="../media/image44.emf"/><Relationship Id="rId4" Type="http://schemas.openxmlformats.org/officeDocument/2006/relationships/image" Target="../media/image43.emf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4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5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5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5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5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5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5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5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5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5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5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5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5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5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5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5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5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5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5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5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5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5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5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5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5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5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6" Type="http://schemas.openxmlformats.org/officeDocument/2006/relationships/image" Target="../media/image45.emf"/><Relationship Id="rId5" Type="http://schemas.openxmlformats.org/officeDocument/2006/relationships/image" Target="../media/image44.emf"/><Relationship Id="rId4" Type="http://schemas.openxmlformats.org/officeDocument/2006/relationships/image" Target="../media/image43.emf"/></Relationships>
</file>

<file path=ppt/slideLayouts/_rels/slideLayout5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6.jpe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43.emf"/><Relationship Id="rId4" Type="http://schemas.openxmlformats.org/officeDocument/2006/relationships/oleObject" Target="../embeddings/oleObject9.bin"/></Relationships>
</file>

<file path=ppt/slideLayouts/_rels/slideLayout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2.xml"/></Relationships>
</file>

<file path=ppt/slideLayouts/_rels/slideLayout5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2.xml"/></Relationships>
</file>

<file path=ppt/slideLayouts/_rels/slideLayout5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5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2.xml"/></Relationships>
</file>

<file path=ppt/slideLayouts/_rels/slideLayout5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2.xml"/></Relationships>
</file>

<file path=ppt/slideLayouts/_rels/slideLayout5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/Relationships>
</file>

<file path=ppt/slideLayouts/_rels/slideLayout5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2.xml"/></Relationships>
</file>

<file path=ppt/slideLayouts/_rels/slideLayout5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2.xml"/></Relationships>
</file>

<file path=ppt/slideLayouts/_rels/slideLayout5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2.xml"/></Relationships>
</file>

<file path=ppt/slideLayouts/_rels/slideLayout5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2.xml"/></Relationships>
</file>

<file path=ppt/slideLayouts/_rels/slideLayout5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2.xml"/></Relationships>
</file>

<file path=ppt/slideLayouts/_rels/slideLayout5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5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.xml"/></Relationships>
</file>

<file path=ppt/slideLayouts/_rels/slideLayout5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2.xml"/></Relationships>
</file>

<file path=ppt/slideLayouts/_rels/slideLayout5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2.xml"/></Relationships>
</file>

<file path=ppt/slideLayouts/_rels/slideLayout5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8.jpe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43.emf"/><Relationship Id="rId4" Type="http://schemas.openxmlformats.org/officeDocument/2006/relationships/oleObject" Target="../embeddings/oleObject11.bin"/></Relationships>
</file>

<file path=ppt/slideLayouts/_rels/slideLayout5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5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5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5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5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5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5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5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5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5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5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5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5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5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5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5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5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5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5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5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5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5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5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Master" Target="../slideMasters/slideMaster2.xml"/></Relationships>
</file>

<file path=ppt/slideLayouts/_rels/slideLayout5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2.xml"/></Relationships>
</file>

<file path=ppt/slideLayouts/_rels/slideLayout5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2.xml"/></Relationships>
</file>

<file path=ppt/slideLayouts/_rels/slideLayout5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2.xml"/></Relationships>
</file>

<file path=ppt/slideLayouts/_rels/slideLayout5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Master" Target="../slideMasters/slideMaster2.xml"/></Relationships>
</file>

<file path=ppt/slideLayouts/_rels/slideLayout6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Master" Target="../slideMasters/slideMaster2.xml"/></Relationships>
</file>

<file path=ppt/slideLayouts/_rels/slideLayout6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82.png"/><Relationship Id="rId1" Type="http://schemas.openxmlformats.org/officeDocument/2006/relationships/slideMaster" Target="../slideMasters/slideMaster2.xml"/></Relationships>
</file>

<file path=ppt/slideLayouts/_rels/slideLayout6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Master" Target="../slideMasters/slideMaster2.xml"/></Relationships>
</file>

<file path=ppt/slideLayouts/_rels/slideLayout6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2.xml"/></Relationships>
</file>

<file path=ppt/slideLayouts/_rels/slideLayout6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2.xml"/></Relationships>
</file>

<file path=ppt/slideLayouts/_rels/slideLayout6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2.xml"/></Relationships>
</file>

<file path=ppt/slideLayouts/_rels/slideLayout6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2.xml"/></Relationships>
</file>

<file path=ppt/slideLayouts/_rels/slideLayout6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88.png"/><Relationship Id="rId1" Type="http://schemas.openxmlformats.org/officeDocument/2006/relationships/slideMaster" Target="../slideMasters/slideMaster2.xml"/></Relationships>
</file>

<file path=ppt/slideLayouts/_rels/slideLayout6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89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6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6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6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6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6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6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6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6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6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6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6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6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6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6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6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6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6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6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6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6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Master" Target="../slideMasters/slideMaster2.xml"/></Relationships>
</file>

<file path=ppt/slideLayouts/_rels/slideLayout6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Master" Target="../slideMasters/slideMaster2.xml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Master" Target="../slideMasters/slideMaster3.xml"/></Relationships>
</file>

<file path=ppt/slideLayouts/_rels/slideLayout6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Master" Target="../slideMasters/slideMaster3.xml"/></Relationships>
</file>

<file path=ppt/slideLayouts/_rels/slideLayout6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3.xml"/></Relationships>
</file>

<file path=ppt/slideLayouts/_rels/slideLayout6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Master" Target="../slideMasters/slideMaster3.xml"/></Relationships>
</file>

<file path=ppt/slideLayouts/_rels/slideLayout6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Master" Target="../slideMasters/slideMaster3.xml"/></Relationships>
</file>

<file path=ppt/slideLayouts/_rels/slideLayout6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Master" Target="../slideMasters/slideMaster3.xml"/></Relationships>
</file>

<file path=ppt/slideLayouts/_rels/slideLayout6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Master" Target="../slideMasters/slideMaster3.xml"/></Relationships>
</file>

<file path=ppt/slideLayouts/_rels/slideLayout6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Master" Target="../slideMasters/slideMaster3.xml"/></Relationships>
</file>

<file path=ppt/slideLayouts/_rels/slideLayout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Master" Target="../slideMasters/slideMaster3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Master" Target="../slideMasters/slideMaster3.xml"/></Relationships>
</file>

<file path=ppt/slideLayouts/_rels/slideLayout6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Master" Target="../slideMasters/slideMaster3.xml"/></Relationships>
</file>

<file path=ppt/slideLayouts/_rels/slideLayout6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Master" Target="../slideMasters/slideMaster3.xml"/></Relationships>
</file>

<file path=ppt/slideLayouts/_rels/slideLayout6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Master" Target="../slideMasters/slideMaster3.xml"/></Relationships>
</file>

<file path=ppt/slideLayouts/_rels/slideLayout6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Master" Target="../slideMasters/slideMaster3.xml"/></Relationships>
</file>

<file path=ppt/slideLayouts/_rels/slideLayout6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Master" Target="../slideMasters/slideMaster3.xml"/></Relationships>
</file>

<file path=ppt/slideLayouts/_rels/slideLayout6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Master" Target="../slideMasters/slideMaster3.xml"/></Relationships>
</file>

<file path=ppt/slideLayouts/_rels/slideLayout6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Master" Target="../slideMasters/slideMaster3.xml"/></Relationships>
</file>

<file path=ppt/slideLayouts/_rels/slideLayout6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3.xml"/></Relationships>
</file>

<file path=ppt/slideLayouts/_rels/slideLayout6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Master" Target="../slideMasters/slideMaster3.xml"/></Relationships>
</file>

<file path=ppt/slideLayouts/_rels/slideLayout661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Tynxth" TargetMode="External"/><Relationship Id="rId2" Type="http://schemas.openxmlformats.org/officeDocument/2006/relationships/image" Target="../media/image96.png"/><Relationship Id="rId1" Type="http://schemas.openxmlformats.org/officeDocument/2006/relationships/slideMaster" Target="../slideMasters/slideMaster3.xml"/><Relationship Id="rId5" Type="http://schemas.openxmlformats.org/officeDocument/2006/relationships/hyperlink" Target="http://bit.ly/2TtBDfr" TargetMode="External"/><Relationship Id="rId4" Type="http://schemas.openxmlformats.org/officeDocument/2006/relationships/hyperlink" Target="http://bit.ly/2TyoMsr" TargetMode="External"/></Relationships>
</file>

<file path=ppt/slideLayouts/_rels/slideLayout6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Master" Target="../slideMasters/slideMaster3.xml"/></Relationships>
</file>

<file path=ppt/slideLayouts/_rels/slideLayout6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Master" Target="../slideMasters/slideMaster3.xml"/></Relationships>
</file>

<file path=ppt/slideLayouts/_rels/slideLayout6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Master" Target="../slideMasters/slideMaster3.xml"/></Relationships>
</file>

<file path=ppt/slideLayouts/_rels/slideLayout6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0.jpeg"/><Relationship Id="rId1" Type="http://schemas.openxmlformats.org/officeDocument/2006/relationships/slideMaster" Target="../slideMasters/slideMaster4.xml"/></Relationships>
</file>

<file path=ppt/slideLayouts/_rels/slideLayout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Master" Target="../slideMasters/slideMaster4.xml"/></Relationships>
</file>

<file path=ppt/slideLayouts/_rels/slideLayout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0.jpeg"/><Relationship Id="rId1" Type="http://schemas.openxmlformats.org/officeDocument/2006/relationships/slideMaster" Target="../slideMasters/slideMaster4.xml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41554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52132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190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190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190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6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32401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68667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57807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5431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2318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0419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0791457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77585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4728801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9803239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412566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87537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21609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2584529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18760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3984267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81573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1374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1480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1374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1480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853839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6881001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4774073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9584940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2179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27465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62912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274134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4204704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44612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44612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3249338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4528005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4843481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47930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5926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3984267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8563667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9406554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5473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7271009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6243037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23891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8803676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05477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05277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478629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27465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7687718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57807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10752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0469885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6120183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238912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7553818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845375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90163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118401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4249136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30006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648636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0705443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779657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8773903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802035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220884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2907002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649185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486265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0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60331786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653802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2484767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64941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649414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93612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43755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43755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5832855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2938656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657318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57807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43182943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854147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1998685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2443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19597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78186423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44781546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8290199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65857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110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5431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00836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321361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59555195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41522953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8668804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862111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5794969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77472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532752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78397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231865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434678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056590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24431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6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285631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686679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4450066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19597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3290789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69414299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3223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0419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393694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589500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393694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589500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5348527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95870651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28825244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99238068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862182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638520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3035621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694493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350505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984913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11595628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972729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25165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192638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8666927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0922533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58417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34488667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596175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16315189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008025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93792943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092572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71672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45037749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86002367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39855488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2182600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238912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5499530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1410609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561641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159376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938417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9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550571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877040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574274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471929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582785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2020187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404483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78424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098044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945276364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021461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989584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864542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282302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04982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79537213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828020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648628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122543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62054694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55294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171260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090535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21214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1920976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8044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090535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666298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656760714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649411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432267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461207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873984959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066305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493336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749776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355322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01456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01456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61880748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19786099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9168792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58112831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3635138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72360139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9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0"/>
            <a:ext cx="10189827" cy="2278211"/>
          </a:xfrm>
        </p:spPr>
        <p:txBody>
          <a:bodyPr anchor="b"/>
          <a:lstStyle>
            <a:lvl1pPr marL="0" indent="0">
              <a:defRPr sz="5334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486813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9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0"/>
            <a:ext cx="10189827" cy="2278211"/>
          </a:xfrm>
        </p:spPr>
        <p:txBody>
          <a:bodyPr anchor="b"/>
          <a:lstStyle>
            <a:lvl1pPr marL="0" indent="0">
              <a:defRPr sz="5334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4868132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0792940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0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9783795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251650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532739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6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9/16/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28347992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9/16/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9018680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3001559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3001559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" name="Google Shape;90;p4"/>
          <p:cNvPicPr preferRelativeResize="0"/>
          <p:nvPr/>
        </p:nvPicPr>
        <p:blipFill>
          <a:blip r:embed="rId2" cstate="email">
            <a:alphaModFix amt="4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1" name="Google Shape;91;p4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8274968" flipH="1">
            <a:off x="-3041918" y="-1666733"/>
            <a:ext cx="6541100" cy="415879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92" name="Google Shape;92;p4"/>
          <p:cNvGrpSpPr/>
          <p:nvPr/>
        </p:nvGrpSpPr>
        <p:grpSpPr>
          <a:xfrm>
            <a:off x="368833" y="327134"/>
            <a:ext cx="11620267" cy="6395284"/>
            <a:chOff x="276625" y="245350"/>
            <a:chExt cx="8715200" cy="4796463"/>
          </a:xfrm>
        </p:grpSpPr>
        <p:grpSp>
          <p:nvGrpSpPr>
            <p:cNvPr id="93" name="Google Shape;93;p4"/>
            <p:cNvGrpSpPr/>
            <p:nvPr/>
          </p:nvGrpSpPr>
          <p:grpSpPr>
            <a:xfrm>
              <a:off x="276625" y="4598563"/>
              <a:ext cx="215150" cy="127925"/>
              <a:chOff x="2704925" y="411725"/>
              <a:chExt cx="215150" cy="127925"/>
            </a:xfrm>
          </p:grpSpPr>
          <p:sp>
            <p:nvSpPr>
              <p:cNvPr id="94" name="Google Shape;94;p4"/>
              <p:cNvSpPr/>
              <p:nvPr/>
            </p:nvSpPr>
            <p:spPr>
              <a:xfrm>
                <a:off x="2775575" y="501850"/>
                <a:ext cx="819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95" name="Google Shape;95;p4"/>
              <p:cNvSpPr/>
              <p:nvPr/>
            </p:nvSpPr>
            <p:spPr>
              <a:xfrm>
                <a:off x="2704925" y="411725"/>
                <a:ext cx="600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96" name="Google Shape;96;p4"/>
              <p:cNvSpPr/>
              <p:nvPr/>
            </p:nvSpPr>
            <p:spPr>
              <a:xfrm>
                <a:off x="2860075" y="440500"/>
                <a:ext cx="600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</p:grpSp>
        <p:grpSp>
          <p:nvGrpSpPr>
            <p:cNvPr id="97" name="Google Shape;97;p4"/>
            <p:cNvGrpSpPr/>
            <p:nvPr/>
          </p:nvGrpSpPr>
          <p:grpSpPr>
            <a:xfrm>
              <a:off x="7131075" y="245350"/>
              <a:ext cx="215150" cy="127925"/>
              <a:chOff x="2704925" y="411725"/>
              <a:chExt cx="215150" cy="127925"/>
            </a:xfrm>
          </p:grpSpPr>
          <p:sp>
            <p:nvSpPr>
              <p:cNvPr id="98" name="Google Shape;98;p4"/>
              <p:cNvSpPr/>
              <p:nvPr/>
            </p:nvSpPr>
            <p:spPr>
              <a:xfrm>
                <a:off x="2775575" y="501850"/>
                <a:ext cx="819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99" name="Google Shape;99;p4"/>
              <p:cNvSpPr/>
              <p:nvPr/>
            </p:nvSpPr>
            <p:spPr>
              <a:xfrm>
                <a:off x="2704925" y="411725"/>
                <a:ext cx="600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100" name="Google Shape;100;p4"/>
              <p:cNvSpPr/>
              <p:nvPr/>
            </p:nvSpPr>
            <p:spPr>
              <a:xfrm>
                <a:off x="2860075" y="440500"/>
                <a:ext cx="600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</p:grpSp>
        <p:grpSp>
          <p:nvGrpSpPr>
            <p:cNvPr id="101" name="Google Shape;101;p4"/>
            <p:cNvGrpSpPr/>
            <p:nvPr/>
          </p:nvGrpSpPr>
          <p:grpSpPr>
            <a:xfrm>
              <a:off x="4784050" y="4783138"/>
              <a:ext cx="313075" cy="258675"/>
              <a:chOff x="8623100" y="2827300"/>
              <a:chExt cx="313075" cy="258675"/>
            </a:xfrm>
          </p:grpSpPr>
          <p:sp>
            <p:nvSpPr>
              <p:cNvPr id="102" name="Google Shape;102;p4"/>
              <p:cNvSpPr/>
              <p:nvPr/>
            </p:nvSpPr>
            <p:spPr>
              <a:xfrm>
                <a:off x="8791675" y="3048175"/>
                <a:ext cx="819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103" name="Google Shape;103;p4"/>
              <p:cNvSpPr/>
              <p:nvPr/>
            </p:nvSpPr>
            <p:spPr>
              <a:xfrm>
                <a:off x="8721025" y="2958050"/>
                <a:ext cx="600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104" name="Google Shape;104;p4"/>
              <p:cNvSpPr/>
              <p:nvPr/>
            </p:nvSpPr>
            <p:spPr>
              <a:xfrm>
                <a:off x="8876175" y="2986825"/>
                <a:ext cx="600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105" name="Google Shape;105;p4"/>
              <p:cNvSpPr/>
              <p:nvPr/>
            </p:nvSpPr>
            <p:spPr>
              <a:xfrm>
                <a:off x="8722650" y="2827300"/>
                <a:ext cx="819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106" name="Google Shape;106;p4"/>
              <p:cNvSpPr/>
              <p:nvPr/>
            </p:nvSpPr>
            <p:spPr>
              <a:xfrm>
                <a:off x="8623100" y="3014425"/>
                <a:ext cx="600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</p:grpSp>
        <p:grpSp>
          <p:nvGrpSpPr>
            <p:cNvPr id="107" name="Google Shape;107;p4"/>
            <p:cNvGrpSpPr/>
            <p:nvPr/>
          </p:nvGrpSpPr>
          <p:grpSpPr>
            <a:xfrm>
              <a:off x="8652425" y="3037225"/>
              <a:ext cx="339400" cy="241250"/>
              <a:chOff x="6339775" y="4248825"/>
              <a:chExt cx="339400" cy="241250"/>
            </a:xfrm>
          </p:grpSpPr>
          <p:sp>
            <p:nvSpPr>
              <p:cNvPr id="108" name="Google Shape;108;p4"/>
              <p:cNvSpPr/>
              <p:nvPr/>
            </p:nvSpPr>
            <p:spPr>
              <a:xfrm>
                <a:off x="6410425" y="4452275"/>
                <a:ext cx="819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109" name="Google Shape;109;p4"/>
              <p:cNvSpPr/>
              <p:nvPr/>
            </p:nvSpPr>
            <p:spPr>
              <a:xfrm>
                <a:off x="6339775" y="4362150"/>
                <a:ext cx="600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110" name="Google Shape;110;p4"/>
              <p:cNvSpPr/>
              <p:nvPr/>
            </p:nvSpPr>
            <p:spPr>
              <a:xfrm>
                <a:off x="6494925" y="4390925"/>
                <a:ext cx="600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111" name="Google Shape;111;p4"/>
              <p:cNvSpPr/>
              <p:nvPr/>
            </p:nvSpPr>
            <p:spPr>
              <a:xfrm>
                <a:off x="6582975" y="4286625"/>
                <a:ext cx="819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112" name="Google Shape;112;p4"/>
              <p:cNvSpPr/>
              <p:nvPr/>
            </p:nvSpPr>
            <p:spPr>
              <a:xfrm>
                <a:off x="6619175" y="4432325"/>
                <a:ext cx="600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  <p:sp>
            <p:nvSpPr>
              <p:cNvPr id="113" name="Google Shape;113;p4"/>
              <p:cNvSpPr/>
              <p:nvPr/>
            </p:nvSpPr>
            <p:spPr>
              <a:xfrm>
                <a:off x="6427675" y="4248825"/>
                <a:ext cx="81900" cy="37800"/>
              </a:xfrm>
              <a:prstGeom prst="ellipse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latin typeface="Carlito"/>
                  <a:ea typeface="Carlito"/>
                  <a:cs typeface="Carlito"/>
                  <a:sym typeface="Carlito"/>
                </a:endParaRPr>
              </a:p>
            </p:txBody>
          </p:sp>
        </p:grpSp>
      </p:grpSp>
      <p:grpSp>
        <p:nvGrpSpPr>
          <p:cNvPr id="114" name="Google Shape;114;p4"/>
          <p:cNvGrpSpPr/>
          <p:nvPr/>
        </p:nvGrpSpPr>
        <p:grpSpPr>
          <a:xfrm>
            <a:off x="4049568" y="-94062"/>
            <a:ext cx="901400" cy="890799"/>
            <a:chOff x="149651" y="1139903"/>
            <a:chExt cx="676050" cy="668099"/>
          </a:xfrm>
        </p:grpSpPr>
        <p:sp>
          <p:nvSpPr>
            <p:cNvPr id="115" name="Google Shape;115;p4"/>
            <p:cNvSpPr/>
            <p:nvPr/>
          </p:nvSpPr>
          <p:spPr>
            <a:xfrm rot="-887204">
              <a:off x="264777" y="1281516"/>
              <a:ext cx="379873" cy="384866"/>
            </a:xfrm>
            <a:custGeom>
              <a:avLst/>
              <a:gdLst/>
              <a:ahLst/>
              <a:cxnLst/>
              <a:rect l="l" t="t" r="r" b="b"/>
              <a:pathLst>
                <a:path w="5783" h="5859" extrusionOk="0">
                  <a:moveTo>
                    <a:pt x="5764" y="3981"/>
                  </a:moveTo>
                  <a:lnTo>
                    <a:pt x="5764" y="3981"/>
                  </a:lnTo>
                  <a:cubicBezTo>
                    <a:pt x="5633" y="3531"/>
                    <a:pt x="5333" y="3123"/>
                    <a:pt x="4892" y="2873"/>
                  </a:cubicBezTo>
                  <a:cubicBezTo>
                    <a:pt x="4756" y="2795"/>
                    <a:pt x="4615" y="2737"/>
                    <a:pt x="4475" y="2693"/>
                  </a:cubicBezTo>
                  <a:cubicBezTo>
                    <a:pt x="4605" y="2625"/>
                    <a:pt x="4727" y="2538"/>
                    <a:pt x="4843" y="2431"/>
                  </a:cubicBezTo>
                  <a:cubicBezTo>
                    <a:pt x="5221" y="2092"/>
                    <a:pt x="5430" y="1631"/>
                    <a:pt x="5464" y="1161"/>
                  </a:cubicBezTo>
                  <a:cubicBezTo>
                    <a:pt x="5483" y="880"/>
                    <a:pt x="5260" y="633"/>
                    <a:pt x="4974" y="623"/>
                  </a:cubicBezTo>
                  <a:cubicBezTo>
                    <a:pt x="4503" y="608"/>
                    <a:pt x="4024" y="769"/>
                    <a:pt x="3646" y="1108"/>
                  </a:cubicBezTo>
                  <a:cubicBezTo>
                    <a:pt x="3534" y="1214"/>
                    <a:pt x="3432" y="1326"/>
                    <a:pt x="3350" y="1452"/>
                  </a:cubicBezTo>
                  <a:cubicBezTo>
                    <a:pt x="3321" y="1307"/>
                    <a:pt x="3277" y="1161"/>
                    <a:pt x="3214" y="1016"/>
                  </a:cubicBezTo>
                  <a:cubicBezTo>
                    <a:pt x="3006" y="555"/>
                    <a:pt x="2632" y="216"/>
                    <a:pt x="2196" y="37"/>
                  </a:cubicBezTo>
                  <a:cubicBezTo>
                    <a:pt x="1934" y="-70"/>
                    <a:pt x="1628" y="66"/>
                    <a:pt x="1532" y="332"/>
                  </a:cubicBezTo>
                  <a:cubicBezTo>
                    <a:pt x="1371" y="778"/>
                    <a:pt x="1377" y="1282"/>
                    <a:pt x="1585" y="1748"/>
                  </a:cubicBezTo>
                  <a:cubicBezTo>
                    <a:pt x="1648" y="1888"/>
                    <a:pt x="1726" y="2019"/>
                    <a:pt x="1818" y="2135"/>
                  </a:cubicBezTo>
                  <a:cubicBezTo>
                    <a:pt x="1672" y="2116"/>
                    <a:pt x="1517" y="2111"/>
                    <a:pt x="1362" y="2131"/>
                  </a:cubicBezTo>
                  <a:cubicBezTo>
                    <a:pt x="858" y="2184"/>
                    <a:pt x="422" y="2431"/>
                    <a:pt x="116" y="2795"/>
                  </a:cubicBezTo>
                  <a:cubicBezTo>
                    <a:pt x="4" y="2930"/>
                    <a:pt x="-25" y="3104"/>
                    <a:pt x="19" y="3259"/>
                  </a:cubicBezTo>
                  <a:cubicBezTo>
                    <a:pt x="33" y="3313"/>
                    <a:pt x="58" y="3356"/>
                    <a:pt x="87" y="3405"/>
                  </a:cubicBezTo>
                  <a:cubicBezTo>
                    <a:pt x="116" y="3444"/>
                    <a:pt x="150" y="3482"/>
                    <a:pt x="193" y="3516"/>
                  </a:cubicBezTo>
                  <a:cubicBezTo>
                    <a:pt x="567" y="3807"/>
                    <a:pt x="1047" y="3957"/>
                    <a:pt x="1556" y="3904"/>
                  </a:cubicBezTo>
                  <a:cubicBezTo>
                    <a:pt x="1706" y="3889"/>
                    <a:pt x="1856" y="3851"/>
                    <a:pt x="1997" y="3802"/>
                  </a:cubicBezTo>
                  <a:cubicBezTo>
                    <a:pt x="1929" y="3938"/>
                    <a:pt x="1881" y="4079"/>
                    <a:pt x="1851" y="4234"/>
                  </a:cubicBezTo>
                  <a:cubicBezTo>
                    <a:pt x="1745" y="4728"/>
                    <a:pt x="1847" y="5223"/>
                    <a:pt x="2099" y="5625"/>
                  </a:cubicBezTo>
                  <a:cubicBezTo>
                    <a:pt x="2249" y="5863"/>
                    <a:pt x="2574" y="5931"/>
                    <a:pt x="2812" y="5775"/>
                  </a:cubicBezTo>
                  <a:cubicBezTo>
                    <a:pt x="3199" y="5508"/>
                    <a:pt x="3490" y="5097"/>
                    <a:pt x="3597" y="4602"/>
                  </a:cubicBezTo>
                  <a:cubicBezTo>
                    <a:pt x="3631" y="4447"/>
                    <a:pt x="3641" y="4297"/>
                    <a:pt x="3636" y="4146"/>
                  </a:cubicBezTo>
                  <a:cubicBezTo>
                    <a:pt x="3742" y="4253"/>
                    <a:pt x="3869" y="4340"/>
                    <a:pt x="3999" y="4418"/>
                  </a:cubicBezTo>
                  <a:cubicBezTo>
                    <a:pt x="4441" y="4675"/>
                    <a:pt x="4945" y="4728"/>
                    <a:pt x="5400" y="4617"/>
                  </a:cubicBezTo>
                  <a:cubicBezTo>
                    <a:pt x="5677" y="4544"/>
                    <a:pt x="5842" y="4258"/>
                    <a:pt x="5764" y="3981"/>
                  </a:cubicBezTo>
                  <a:close/>
                </a:path>
              </a:pathLst>
            </a:custGeom>
            <a:solidFill>
              <a:srgbClr val="CFA17B">
                <a:alpha val="36710"/>
              </a:srgbClr>
            </a:solidFill>
            <a:ln>
              <a:noFill/>
            </a:ln>
          </p:spPr>
          <p:txBody>
            <a:bodyPr spcFirstLastPara="1" wrap="square" lIns="90000" tIns="45000" rIns="90000" bIns="45000" anchor="ctr" anchorCtr="1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0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6" name="Google Shape;116;p4"/>
            <p:cNvPicPr preferRelativeResize="0"/>
            <p:nvPr/>
          </p:nvPicPr>
          <p:blipFill rotWithShape="1">
            <a:blip r:embed="rId4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3521815">
              <a:off x="249041" y="1223448"/>
              <a:ext cx="477268" cy="501009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17" name="Google Shape;117;p4"/>
          <p:cNvGrpSpPr/>
          <p:nvPr/>
        </p:nvGrpSpPr>
        <p:grpSpPr>
          <a:xfrm>
            <a:off x="10538672" y="-648102"/>
            <a:ext cx="1450429" cy="1998903"/>
            <a:chOff x="7904004" y="-486077"/>
            <a:chExt cx="1087822" cy="1499177"/>
          </a:xfrm>
        </p:grpSpPr>
        <p:sp>
          <p:nvSpPr>
            <p:cNvPr id="118" name="Google Shape;118;p4"/>
            <p:cNvSpPr/>
            <p:nvPr/>
          </p:nvSpPr>
          <p:spPr>
            <a:xfrm rot="-5400000">
              <a:off x="7721092" y="-264460"/>
              <a:ext cx="1409172" cy="1043348"/>
            </a:xfrm>
            <a:custGeom>
              <a:avLst/>
              <a:gdLst/>
              <a:ahLst/>
              <a:cxnLst/>
              <a:rect l="l" t="t" r="r" b="b"/>
              <a:pathLst>
                <a:path w="5077" h="3759" extrusionOk="0">
                  <a:moveTo>
                    <a:pt x="4805" y="0"/>
                  </a:moveTo>
                  <a:lnTo>
                    <a:pt x="4805" y="0"/>
                  </a:lnTo>
                  <a:cubicBezTo>
                    <a:pt x="4334" y="241"/>
                    <a:pt x="4334" y="241"/>
                    <a:pt x="4334" y="241"/>
                  </a:cubicBezTo>
                  <a:lnTo>
                    <a:pt x="4334" y="241"/>
                  </a:lnTo>
                  <a:cubicBezTo>
                    <a:pt x="471" y="2199"/>
                    <a:pt x="471" y="2199"/>
                    <a:pt x="471" y="2199"/>
                  </a:cubicBezTo>
                  <a:lnTo>
                    <a:pt x="471" y="2199"/>
                  </a:lnTo>
                  <a:cubicBezTo>
                    <a:pt x="0" y="2434"/>
                    <a:pt x="0" y="2434"/>
                    <a:pt x="0" y="2434"/>
                  </a:cubicBezTo>
                  <a:cubicBezTo>
                    <a:pt x="256" y="2936"/>
                    <a:pt x="629" y="3299"/>
                    <a:pt x="1070" y="3514"/>
                  </a:cubicBezTo>
                  <a:cubicBezTo>
                    <a:pt x="1402" y="3678"/>
                    <a:pt x="1776" y="3759"/>
                    <a:pt x="2154" y="3759"/>
                  </a:cubicBezTo>
                  <a:cubicBezTo>
                    <a:pt x="2605" y="3759"/>
                    <a:pt x="3075" y="3642"/>
                    <a:pt x="3521" y="3417"/>
                  </a:cubicBezTo>
                  <a:cubicBezTo>
                    <a:pt x="4846" y="2747"/>
                    <a:pt x="5480" y="1325"/>
                    <a:pt x="4805" y="0"/>
                  </a:cubicBezTo>
                  <a:close/>
                </a:path>
              </a:pathLst>
            </a:custGeom>
            <a:solidFill>
              <a:srgbClr val="CFA17B">
                <a:alpha val="36710"/>
              </a:srgbClr>
            </a:solidFill>
            <a:ln>
              <a:noFill/>
            </a:ln>
          </p:spPr>
          <p:txBody>
            <a:bodyPr spcFirstLastPara="1" wrap="square" lIns="90000" tIns="45000" rIns="90000" bIns="45000" anchor="ctr" anchorCtr="1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1" strike="noStrike">
                <a:solidFill>
                  <a:srgbClr val="000000"/>
                </a:solidFill>
              </a:endParaRPr>
            </a:p>
          </p:txBody>
        </p:sp>
        <p:pic>
          <p:nvPicPr>
            <p:cNvPr id="119" name="Google Shape;119;p4"/>
            <p:cNvPicPr preferRelativeResize="0"/>
            <p:nvPr/>
          </p:nvPicPr>
          <p:blipFill rotWithShape="1">
            <a:blip r:embed="rId5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-5400000">
              <a:off x="7705600" y="-273126"/>
              <a:ext cx="1499177" cy="1073275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20" name="Google Shape;120;p4"/>
          <p:cNvGrpSpPr/>
          <p:nvPr/>
        </p:nvGrpSpPr>
        <p:grpSpPr>
          <a:xfrm rot="1941255">
            <a:off x="10978763" y="4947679"/>
            <a:ext cx="2593888" cy="2588960"/>
            <a:chOff x="8318302" y="1011963"/>
            <a:chExt cx="1708672" cy="1705426"/>
          </a:xfrm>
        </p:grpSpPr>
        <p:sp>
          <p:nvSpPr>
            <p:cNvPr id="121" name="Google Shape;121;p4"/>
            <p:cNvSpPr/>
            <p:nvPr/>
          </p:nvSpPr>
          <p:spPr>
            <a:xfrm>
              <a:off x="8617366" y="1337350"/>
              <a:ext cx="1059475" cy="1058821"/>
            </a:xfrm>
            <a:custGeom>
              <a:avLst/>
              <a:gdLst/>
              <a:ahLst/>
              <a:cxnLst/>
              <a:rect l="l" t="t" r="r" b="b"/>
              <a:pathLst>
                <a:path w="4954" h="4951" extrusionOk="0">
                  <a:moveTo>
                    <a:pt x="1437" y="1995"/>
                  </a:moveTo>
                  <a:lnTo>
                    <a:pt x="1437" y="1995"/>
                  </a:lnTo>
                  <a:cubicBezTo>
                    <a:pt x="1493" y="1872"/>
                    <a:pt x="1575" y="1754"/>
                    <a:pt x="1682" y="1652"/>
                  </a:cubicBezTo>
                  <a:lnTo>
                    <a:pt x="1682" y="1652"/>
                  </a:lnTo>
                  <a:cubicBezTo>
                    <a:pt x="1688" y="1647"/>
                    <a:pt x="1693" y="1637"/>
                    <a:pt x="1703" y="1632"/>
                  </a:cubicBezTo>
                  <a:cubicBezTo>
                    <a:pt x="1703" y="1627"/>
                    <a:pt x="1703" y="1627"/>
                    <a:pt x="1703" y="1627"/>
                  </a:cubicBezTo>
                  <a:cubicBezTo>
                    <a:pt x="1713" y="1621"/>
                    <a:pt x="1718" y="1616"/>
                    <a:pt x="1724" y="1611"/>
                  </a:cubicBezTo>
                  <a:cubicBezTo>
                    <a:pt x="1729" y="1606"/>
                    <a:pt x="1729" y="1606"/>
                    <a:pt x="1729" y="1606"/>
                  </a:cubicBezTo>
                  <a:lnTo>
                    <a:pt x="1729" y="1606"/>
                  </a:lnTo>
                  <a:cubicBezTo>
                    <a:pt x="1739" y="1601"/>
                    <a:pt x="1744" y="1596"/>
                    <a:pt x="1749" y="1591"/>
                  </a:cubicBezTo>
                  <a:cubicBezTo>
                    <a:pt x="1754" y="1585"/>
                    <a:pt x="1754" y="1585"/>
                    <a:pt x="1754" y="1585"/>
                  </a:cubicBezTo>
                  <a:cubicBezTo>
                    <a:pt x="1764" y="1581"/>
                    <a:pt x="1769" y="1575"/>
                    <a:pt x="1775" y="1570"/>
                  </a:cubicBezTo>
                  <a:lnTo>
                    <a:pt x="1775" y="1570"/>
                  </a:lnTo>
                  <a:cubicBezTo>
                    <a:pt x="1892" y="1478"/>
                    <a:pt x="2020" y="1417"/>
                    <a:pt x="2154" y="1376"/>
                  </a:cubicBezTo>
                  <a:lnTo>
                    <a:pt x="2154" y="1376"/>
                  </a:lnTo>
                  <a:cubicBezTo>
                    <a:pt x="2158" y="1376"/>
                    <a:pt x="2169" y="1371"/>
                    <a:pt x="2174" y="1371"/>
                  </a:cubicBezTo>
                  <a:cubicBezTo>
                    <a:pt x="2179" y="1371"/>
                    <a:pt x="2179" y="1371"/>
                    <a:pt x="2179" y="1371"/>
                  </a:cubicBezTo>
                  <a:cubicBezTo>
                    <a:pt x="2276" y="1345"/>
                    <a:pt x="2379" y="1330"/>
                    <a:pt x="2476" y="1330"/>
                  </a:cubicBezTo>
                  <a:cubicBezTo>
                    <a:pt x="2681" y="1330"/>
                    <a:pt x="2885" y="1386"/>
                    <a:pt x="3064" y="1494"/>
                  </a:cubicBezTo>
                  <a:lnTo>
                    <a:pt x="3064" y="1494"/>
                  </a:lnTo>
                  <a:cubicBezTo>
                    <a:pt x="3151" y="1545"/>
                    <a:pt x="3238" y="1611"/>
                    <a:pt x="3310" y="1688"/>
                  </a:cubicBezTo>
                  <a:cubicBezTo>
                    <a:pt x="3315" y="1693"/>
                    <a:pt x="3315" y="1693"/>
                    <a:pt x="3315" y="1693"/>
                  </a:cubicBezTo>
                  <a:cubicBezTo>
                    <a:pt x="3325" y="1703"/>
                    <a:pt x="3335" y="1714"/>
                    <a:pt x="3346" y="1724"/>
                  </a:cubicBezTo>
                  <a:lnTo>
                    <a:pt x="3346" y="1724"/>
                  </a:lnTo>
                  <a:cubicBezTo>
                    <a:pt x="3346" y="1729"/>
                    <a:pt x="3346" y="1729"/>
                    <a:pt x="3346" y="1729"/>
                  </a:cubicBezTo>
                  <a:cubicBezTo>
                    <a:pt x="3351" y="1734"/>
                    <a:pt x="3356" y="1744"/>
                    <a:pt x="3366" y="1750"/>
                  </a:cubicBezTo>
                  <a:cubicBezTo>
                    <a:pt x="3366" y="1754"/>
                    <a:pt x="3366" y="1754"/>
                    <a:pt x="3371" y="1759"/>
                  </a:cubicBezTo>
                  <a:cubicBezTo>
                    <a:pt x="3376" y="1765"/>
                    <a:pt x="3382" y="1770"/>
                    <a:pt x="3386" y="1780"/>
                  </a:cubicBezTo>
                  <a:cubicBezTo>
                    <a:pt x="3392" y="1785"/>
                    <a:pt x="3392" y="1785"/>
                    <a:pt x="3392" y="1785"/>
                  </a:cubicBezTo>
                  <a:cubicBezTo>
                    <a:pt x="3397" y="1790"/>
                    <a:pt x="3402" y="1801"/>
                    <a:pt x="3407" y="1806"/>
                  </a:cubicBezTo>
                  <a:lnTo>
                    <a:pt x="3407" y="1806"/>
                  </a:lnTo>
                  <a:cubicBezTo>
                    <a:pt x="3494" y="1928"/>
                    <a:pt x="3555" y="2061"/>
                    <a:pt x="3586" y="2199"/>
                  </a:cubicBezTo>
                  <a:cubicBezTo>
                    <a:pt x="3591" y="2199"/>
                    <a:pt x="3591" y="2199"/>
                    <a:pt x="3591" y="2199"/>
                  </a:cubicBezTo>
                  <a:cubicBezTo>
                    <a:pt x="3653" y="2450"/>
                    <a:pt x="3627" y="2716"/>
                    <a:pt x="3520" y="2951"/>
                  </a:cubicBezTo>
                  <a:cubicBezTo>
                    <a:pt x="3515" y="2961"/>
                    <a:pt x="3509" y="2971"/>
                    <a:pt x="3504" y="2981"/>
                  </a:cubicBezTo>
                  <a:lnTo>
                    <a:pt x="3504" y="2981"/>
                  </a:lnTo>
                  <a:cubicBezTo>
                    <a:pt x="3499" y="2992"/>
                    <a:pt x="3494" y="3007"/>
                    <a:pt x="3484" y="3017"/>
                  </a:cubicBezTo>
                  <a:lnTo>
                    <a:pt x="3484" y="3017"/>
                  </a:lnTo>
                  <a:cubicBezTo>
                    <a:pt x="3427" y="3125"/>
                    <a:pt x="3356" y="3222"/>
                    <a:pt x="3264" y="3303"/>
                  </a:cubicBezTo>
                  <a:lnTo>
                    <a:pt x="3264" y="3303"/>
                  </a:lnTo>
                  <a:cubicBezTo>
                    <a:pt x="3259" y="3314"/>
                    <a:pt x="3253" y="3319"/>
                    <a:pt x="3248" y="3324"/>
                  </a:cubicBezTo>
                  <a:cubicBezTo>
                    <a:pt x="3238" y="3329"/>
                    <a:pt x="3233" y="3334"/>
                    <a:pt x="3228" y="3339"/>
                  </a:cubicBezTo>
                  <a:lnTo>
                    <a:pt x="3228" y="3339"/>
                  </a:lnTo>
                  <a:cubicBezTo>
                    <a:pt x="3223" y="3345"/>
                    <a:pt x="3223" y="3345"/>
                    <a:pt x="3223" y="3345"/>
                  </a:cubicBezTo>
                  <a:cubicBezTo>
                    <a:pt x="3218" y="3350"/>
                    <a:pt x="3213" y="3355"/>
                    <a:pt x="3208" y="3360"/>
                  </a:cubicBezTo>
                  <a:cubicBezTo>
                    <a:pt x="3197" y="3365"/>
                    <a:pt x="3192" y="3370"/>
                    <a:pt x="3187" y="3375"/>
                  </a:cubicBezTo>
                  <a:lnTo>
                    <a:pt x="3187" y="3375"/>
                  </a:lnTo>
                  <a:cubicBezTo>
                    <a:pt x="3084" y="3452"/>
                    <a:pt x="2982" y="3508"/>
                    <a:pt x="2870" y="3549"/>
                  </a:cubicBezTo>
                  <a:lnTo>
                    <a:pt x="2870" y="3549"/>
                  </a:lnTo>
                  <a:cubicBezTo>
                    <a:pt x="2793" y="3580"/>
                    <a:pt x="2716" y="3595"/>
                    <a:pt x="2639" y="3610"/>
                  </a:cubicBezTo>
                  <a:cubicBezTo>
                    <a:pt x="2588" y="3616"/>
                    <a:pt x="2532" y="3621"/>
                    <a:pt x="2476" y="3621"/>
                  </a:cubicBezTo>
                  <a:cubicBezTo>
                    <a:pt x="2327" y="3621"/>
                    <a:pt x="2184" y="3590"/>
                    <a:pt x="2046" y="3534"/>
                  </a:cubicBezTo>
                  <a:lnTo>
                    <a:pt x="2046" y="3534"/>
                  </a:lnTo>
                  <a:cubicBezTo>
                    <a:pt x="1913" y="3483"/>
                    <a:pt x="1790" y="3401"/>
                    <a:pt x="1682" y="3299"/>
                  </a:cubicBezTo>
                  <a:lnTo>
                    <a:pt x="1682" y="3299"/>
                  </a:lnTo>
                  <a:cubicBezTo>
                    <a:pt x="1673" y="3293"/>
                    <a:pt x="1667" y="3283"/>
                    <a:pt x="1662" y="3278"/>
                  </a:cubicBezTo>
                  <a:cubicBezTo>
                    <a:pt x="1657" y="3273"/>
                    <a:pt x="1657" y="3273"/>
                    <a:pt x="1657" y="3273"/>
                  </a:cubicBezTo>
                  <a:cubicBezTo>
                    <a:pt x="1647" y="3268"/>
                    <a:pt x="1642" y="3258"/>
                    <a:pt x="1637" y="3252"/>
                  </a:cubicBezTo>
                  <a:lnTo>
                    <a:pt x="1631" y="3247"/>
                  </a:lnTo>
                  <a:cubicBezTo>
                    <a:pt x="1626" y="3242"/>
                    <a:pt x="1616" y="3232"/>
                    <a:pt x="1611" y="3222"/>
                  </a:cubicBezTo>
                  <a:lnTo>
                    <a:pt x="1611" y="3222"/>
                  </a:lnTo>
                  <a:cubicBezTo>
                    <a:pt x="1606" y="3217"/>
                    <a:pt x="1601" y="3212"/>
                    <a:pt x="1591" y="3201"/>
                  </a:cubicBezTo>
                  <a:cubicBezTo>
                    <a:pt x="1591" y="3201"/>
                    <a:pt x="1591" y="3196"/>
                    <a:pt x="1585" y="3196"/>
                  </a:cubicBezTo>
                  <a:cubicBezTo>
                    <a:pt x="1585" y="3191"/>
                    <a:pt x="1580" y="3186"/>
                    <a:pt x="1575" y="3186"/>
                  </a:cubicBezTo>
                  <a:cubicBezTo>
                    <a:pt x="1575" y="3181"/>
                    <a:pt x="1570" y="3176"/>
                    <a:pt x="1565" y="3170"/>
                  </a:cubicBezTo>
                  <a:cubicBezTo>
                    <a:pt x="1565" y="3165"/>
                    <a:pt x="1565" y="3165"/>
                    <a:pt x="1565" y="3165"/>
                  </a:cubicBezTo>
                  <a:cubicBezTo>
                    <a:pt x="1504" y="3089"/>
                    <a:pt x="1457" y="3002"/>
                    <a:pt x="1422" y="2916"/>
                  </a:cubicBezTo>
                  <a:cubicBezTo>
                    <a:pt x="1417" y="2916"/>
                    <a:pt x="1417" y="2916"/>
                    <a:pt x="1417" y="2916"/>
                  </a:cubicBezTo>
                  <a:cubicBezTo>
                    <a:pt x="1360" y="2773"/>
                    <a:pt x="1330" y="2624"/>
                    <a:pt x="1330" y="2476"/>
                  </a:cubicBezTo>
                  <a:cubicBezTo>
                    <a:pt x="1330" y="2373"/>
                    <a:pt x="1345" y="2271"/>
                    <a:pt x="1371" y="2174"/>
                  </a:cubicBezTo>
                  <a:cubicBezTo>
                    <a:pt x="1375" y="2169"/>
                    <a:pt x="1375" y="2159"/>
                    <a:pt x="1381" y="2148"/>
                  </a:cubicBezTo>
                  <a:cubicBezTo>
                    <a:pt x="1391" y="2112"/>
                    <a:pt x="1401" y="2077"/>
                    <a:pt x="1417" y="2046"/>
                  </a:cubicBezTo>
                  <a:cubicBezTo>
                    <a:pt x="1422" y="2026"/>
                    <a:pt x="1427" y="2010"/>
                    <a:pt x="1437" y="1995"/>
                  </a:cubicBezTo>
                  <a:moveTo>
                    <a:pt x="2476" y="0"/>
                  </a:moveTo>
                  <a:lnTo>
                    <a:pt x="2476" y="0"/>
                  </a:lnTo>
                  <a:cubicBezTo>
                    <a:pt x="1985" y="0"/>
                    <a:pt x="1488" y="143"/>
                    <a:pt x="1064" y="440"/>
                  </a:cubicBezTo>
                  <a:cubicBezTo>
                    <a:pt x="1064" y="445"/>
                    <a:pt x="1064" y="445"/>
                    <a:pt x="1064" y="445"/>
                  </a:cubicBezTo>
                  <a:cubicBezTo>
                    <a:pt x="1048" y="455"/>
                    <a:pt x="1033" y="465"/>
                    <a:pt x="1012" y="476"/>
                  </a:cubicBezTo>
                  <a:cubicBezTo>
                    <a:pt x="1007" y="480"/>
                    <a:pt x="1007" y="480"/>
                    <a:pt x="1007" y="480"/>
                  </a:cubicBezTo>
                  <a:cubicBezTo>
                    <a:pt x="997" y="491"/>
                    <a:pt x="981" y="501"/>
                    <a:pt x="966" y="511"/>
                  </a:cubicBezTo>
                  <a:cubicBezTo>
                    <a:pt x="961" y="516"/>
                    <a:pt x="961" y="516"/>
                    <a:pt x="956" y="522"/>
                  </a:cubicBezTo>
                  <a:cubicBezTo>
                    <a:pt x="946" y="532"/>
                    <a:pt x="930" y="542"/>
                    <a:pt x="915" y="552"/>
                  </a:cubicBezTo>
                  <a:cubicBezTo>
                    <a:pt x="915" y="552"/>
                    <a:pt x="910" y="558"/>
                    <a:pt x="905" y="558"/>
                  </a:cubicBezTo>
                  <a:cubicBezTo>
                    <a:pt x="890" y="573"/>
                    <a:pt x="874" y="588"/>
                    <a:pt x="859" y="603"/>
                  </a:cubicBezTo>
                  <a:cubicBezTo>
                    <a:pt x="839" y="614"/>
                    <a:pt x="823" y="629"/>
                    <a:pt x="808" y="644"/>
                  </a:cubicBezTo>
                  <a:cubicBezTo>
                    <a:pt x="808" y="649"/>
                    <a:pt x="803" y="649"/>
                    <a:pt x="797" y="654"/>
                  </a:cubicBezTo>
                  <a:cubicBezTo>
                    <a:pt x="787" y="665"/>
                    <a:pt x="772" y="675"/>
                    <a:pt x="761" y="690"/>
                  </a:cubicBezTo>
                  <a:cubicBezTo>
                    <a:pt x="757" y="690"/>
                    <a:pt x="757" y="696"/>
                    <a:pt x="752" y="696"/>
                  </a:cubicBezTo>
                  <a:cubicBezTo>
                    <a:pt x="741" y="711"/>
                    <a:pt x="726" y="721"/>
                    <a:pt x="716" y="736"/>
                  </a:cubicBezTo>
                  <a:cubicBezTo>
                    <a:pt x="710" y="742"/>
                    <a:pt x="710" y="742"/>
                    <a:pt x="710" y="742"/>
                  </a:cubicBezTo>
                  <a:cubicBezTo>
                    <a:pt x="695" y="752"/>
                    <a:pt x="685" y="767"/>
                    <a:pt x="670" y="782"/>
                  </a:cubicBezTo>
                  <a:lnTo>
                    <a:pt x="670" y="782"/>
                  </a:lnTo>
                  <a:cubicBezTo>
                    <a:pt x="-108" y="1611"/>
                    <a:pt x="-221" y="2870"/>
                    <a:pt x="393" y="3815"/>
                  </a:cubicBezTo>
                  <a:cubicBezTo>
                    <a:pt x="398" y="3820"/>
                    <a:pt x="398" y="3820"/>
                    <a:pt x="403" y="3826"/>
                  </a:cubicBezTo>
                  <a:cubicBezTo>
                    <a:pt x="409" y="3836"/>
                    <a:pt x="419" y="3851"/>
                    <a:pt x="424" y="3861"/>
                  </a:cubicBezTo>
                  <a:cubicBezTo>
                    <a:pt x="429" y="3866"/>
                    <a:pt x="434" y="3872"/>
                    <a:pt x="434" y="3877"/>
                  </a:cubicBezTo>
                  <a:cubicBezTo>
                    <a:pt x="445" y="3887"/>
                    <a:pt x="449" y="3897"/>
                    <a:pt x="454" y="3907"/>
                  </a:cubicBezTo>
                  <a:cubicBezTo>
                    <a:pt x="460" y="3912"/>
                    <a:pt x="465" y="3923"/>
                    <a:pt x="470" y="3928"/>
                  </a:cubicBezTo>
                  <a:cubicBezTo>
                    <a:pt x="475" y="3938"/>
                    <a:pt x="485" y="3943"/>
                    <a:pt x="490" y="3953"/>
                  </a:cubicBezTo>
                  <a:cubicBezTo>
                    <a:pt x="496" y="3964"/>
                    <a:pt x="501" y="3968"/>
                    <a:pt x="511" y="3979"/>
                  </a:cubicBezTo>
                  <a:cubicBezTo>
                    <a:pt x="516" y="3984"/>
                    <a:pt x="521" y="3995"/>
                    <a:pt x="526" y="3999"/>
                  </a:cubicBezTo>
                  <a:cubicBezTo>
                    <a:pt x="536" y="4010"/>
                    <a:pt x="541" y="4020"/>
                    <a:pt x="552" y="4030"/>
                  </a:cubicBezTo>
                  <a:cubicBezTo>
                    <a:pt x="552" y="4035"/>
                    <a:pt x="557" y="4040"/>
                    <a:pt x="562" y="4046"/>
                  </a:cubicBezTo>
                  <a:cubicBezTo>
                    <a:pt x="577" y="4061"/>
                    <a:pt x="588" y="4076"/>
                    <a:pt x="603" y="4091"/>
                  </a:cubicBezTo>
                  <a:cubicBezTo>
                    <a:pt x="618" y="4112"/>
                    <a:pt x="634" y="4127"/>
                    <a:pt x="649" y="4143"/>
                  </a:cubicBezTo>
                  <a:cubicBezTo>
                    <a:pt x="649" y="4148"/>
                    <a:pt x="654" y="4153"/>
                    <a:pt x="659" y="4158"/>
                  </a:cubicBezTo>
                  <a:cubicBezTo>
                    <a:pt x="670" y="4168"/>
                    <a:pt x="680" y="4179"/>
                    <a:pt x="695" y="4194"/>
                  </a:cubicBezTo>
                  <a:cubicBezTo>
                    <a:pt x="695" y="4199"/>
                    <a:pt x="700" y="4199"/>
                    <a:pt x="705" y="4204"/>
                  </a:cubicBezTo>
                  <a:cubicBezTo>
                    <a:pt x="716" y="4219"/>
                    <a:pt x="731" y="4230"/>
                    <a:pt x="741" y="4240"/>
                  </a:cubicBezTo>
                  <a:cubicBezTo>
                    <a:pt x="746" y="4245"/>
                    <a:pt x="746" y="4245"/>
                    <a:pt x="752" y="4250"/>
                  </a:cubicBezTo>
                  <a:cubicBezTo>
                    <a:pt x="761" y="4266"/>
                    <a:pt x="777" y="4275"/>
                    <a:pt x="787" y="4286"/>
                  </a:cubicBezTo>
                  <a:cubicBezTo>
                    <a:pt x="792" y="4291"/>
                    <a:pt x="792" y="4291"/>
                    <a:pt x="797" y="4296"/>
                  </a:cubicBezTo>
                  <a:cubicBezTo>
                    <a:pt x="813" y="4306"/>
                    <a:pt x="828" y="4322"/>
                    <a:pt x="839" y="4332"/>
                  </a:cubicBezTo>
                  <a:cubicBezTo>
                    <a:pt x="843" y="4337"/>
                    <a:pt x="843" y="4337"/>
                    <a:pt x="843" y="4337"/>
                  </a:cubicBezTo>
                  <a:cubicBezTo>
                    <a:pt x="1309" y="4741"/>
                    <a:pt x="1892" y="4951"/>
                    <a:pt x="2476" y="4951"/>
                  </a:cubicBezTo>
                  <a:cubicBezTo>
                    <a:pt x="2977" y="4951"/>
                    <a:pt x="3479" y="4802"/>
                    <a:pt x="3903" y="4495"/>
                  </a:cubicBezTo>
                  <a:cubicBezTo>
                    <a:pt x="3909" y="4495"/>
                    <a:pt x="3909" y="4495"/>
                    <a:pt x="3914" y="4491"/>
                  </a:cubicBezTo>
                  <a:cubicBezTo>
                    <a:pt x="3924" y="4480"/>
                    <a:pt x="3939" y="4470"/>
                    <a:pt x="3954" y="4465"/>
                  </a:cubicBezTo>
                  <a:cubicBezTo>
                    <a:pt x="3960" y="4460"/>
                    <a:pt x="3965" y="4455"/>
                    <a:pt x="3970" y="4450"/>
                  </a:cubicBezTo>
                  <a:cubicBezTo>
                    <a:pt x="3980" y="4444"/>
                    <a:pt x="3990" y="4434"/>
                    <a:pt x="4001" y="4424"/>
                  </a:cubicBezTo>
                  <a:cubicBezTo>
                    <a:pt x="4011" y="4419"/>
                    <a:pt x="4016" y="4414"/>
                    <a:pt x="4026" y="4404"/>
                  </a:cubicBezTo>
                  <a:cubicBezTo>
                    <a:pt x="4031" y="4398"/>
                    <a:pt x="4041" y="4393"/>
                    <a:pt x="4047" y="4388"/>
                  </a:cubicBezTo>
                  <a:cubicBezTo>
                    <a:pt x="4067" y="4373"/>
                    <a:pt x="4083" y="4363"/>
                    <a:pt x="4098" y="4347"/>
                  </a:cubicBezTo>
                  <a:cubicBezTo>
                    <a:pt x="4113" y="4332"/>
                    <a:pt x="4129" y="4322"/>
                    <a:pt x="4144" y="4306"/>
                  </a:cubicBezTo>
                  <a:cubicBezTo>
                    <a:pt x="4149" y="4301"/>
                    <a:pt x="4159" y="4291"/>
                    <a:pt x="4164" y="4286"/>
                  </a:cubicBezTo>
                  <a:cubicBezTo>
                    <a:pt x="4174" y="4281"/>
                    <a:pt x="4180" y="4271"/>
                    <a:pt x="4190" y="4266"/>
                  </a:cubicBezTo>
                  <a:cubicBezTo>
                    <a:pt x="4200" y="4255"/>
                    <a:pt x="4205" y="4245"/>
                    <a:pt x="4216" y="4235"/>
                  </a:cubicBezTo>
                  <a:cubicBezTo>
                    <a:pt x="4221" y="4230"/>
                    <a:pt x="4225" y="4230"/>
                    <a:pt x="4231" y="4224"/>
                  </a:cubicBezTo>
                  <a:cubicBezTo>
                    <a:pt x="4241" y="4209"/>
                    <a:pt x="4256" y="4199"/>
                    <a:pt x="4267" y="4189"/>
                  </a:cubicBezTo>
                  <a:cubicBezTo>
                    <a:pt x="4267" y="4184"/>
                    <a:pt x="4272" y="4184"/>
                    <a:pt x="4272" y="4179"/>
                  </a:cubicBezTo>
                  <a:cubicBezTo>
                    <a:pt x="5060" y="3355"/>
                    <a:pt x="5177" y="2087"/>
                    <a:pt x="4558" y="1136"/>
                  </a:cubicBezTo>
                  <a:cubicBezTo>
                    <a:pt x="4558" y="1130"/>
                    <a:pt x="4553" y="1125"/>
                    <a:pt x="4553" y="1125"/>
                  </a:cubicBezTo>
                  <a:cubicBezTo>
                    <a:pt x="4548" y="1115"/>
                    <a:pt x="4538" y="1105"/>
                    <a:pt x="4533" y="1094"/>
                  </a:cubicBezTo>
                  <a:cubicBezTo>
                    <a:pt x="4528" y="1084"/>
                    <a:pt x="4523" y="1074"/>
                    <a:pt x="4512" y="1069"/>
                  </a:cubicBezTo>
                  <a:cubicBezTo>
                    <a:pt x="4507" y="1058"/>
                    <a:pt x="4507" y="1054"/>
                    <a:pt x="4502" y="1049"/>
                  </a:cubicBezTo>
                  <a:cubicBezTo>
                    <a:pt x="4492" y="1033"/>
                    <a:pt x="4481" y="1023"/>
                    <a:pt x="4477" y="1013"/>
                  </a:cubicBezTo>
                  <a:cubicBezTo>
                    <a:pt x="4471" y="1007"/>
                    <a:pt x="4466" y="1003"/>
                    <a:pt x="4466" y="997"/>
                  </a:cubicBezTo>
                  <a:cubicBezTo>
                    <a:pt x="4456" y="987"/>
                    <a:pt x="4446" y="972"/>
                    <a:pt x="4436" y="956"/>
                  </a:cubicBezTo>
                  <a:cubicBezTo>
                    <a:pt x="4430" y="956"/>
                    <a:pt x="4430" y="951"/>
                    <a:pt x="4425" y="951"/>
                  </a:cubicBezTo>
                  <a:cubicBezTo>
                    <a:pt x="4415" y="936"/>
                    <a:pt x="4405" y="920"/>
                    <a:pt x="4394" y="905"/>
                  </a:cubicBezTo>
                  <a:cubicBezTo>
                    <a:pt x="4390" y="900"/>
                    <a:pt x="4390" y="900"/>
                    <a:pt x="4390" y="900"/>
                  </a:cubicBezTo>
                  <a:cubicBezTo>
                    <a:pt x="4379" y="885"/>
                    <a:pt x="4364" y="869"/>
                    <a:pt x="4348" y="854"/>
                  </a:cubicBezTo>
                  <a:cubicBezTo>
                    <a:pt x="4338" y="838"/>
                    <a:pt x="4323" y="823"/>
                    <a:pt x="4313" y="808"/>
                  </a:cubicBezTo>
                  <a:cubicBezTo>
                    <a:pt x="4308" y="803"/>
                    <a:pt x="4303" y="798"/>
                    <a:pt x="4297" y="793"/>
                  </a:cubicBezTo>
                  <a:cubicBezTo>
                    <a:pt x="4287" y="787"/>
                    <a:pt x="4277" y="777"/>
                    <a:pt x="4272" y="767"/>
                  </a:cubicBezTo>
                  <a:cubicBezTo>
                    <a:pt x="4261" y="762"/>
                    <a:pt x="4256" y="752"/>
                    <a:pt x="4252" y="747"/>
                  </a:cubicBezTo>
                  <a:cubicBezTo>
                    <a:pt x="4241" y="742"/>
                    <a:pt x="4236" y="731"/>
                    <a:pt x="4231" y="726"/>
                  </a:cubicBezTo>
                  <a:cubicBezTo>
                    <a:pt x="4221" y="716"/>
                    <a:pt x="4216" y="711"/>
                    <a:pt x="4205" y="700"/>
                  </a:cubicBezTo>
                  <a:cubicBezTo>
                    <a:pt x="4200" y="696"/>
                    <a:pt x="4195" y="690"/>
                    <a:pt x="4190" y="685"/>
                  </a:cubicBezTo>
                  <a:cubicBezTo>
                    <a:pt x="4180" y="675"/>
                    <a:pt x="4169" y="665"/>
                    <a:pt x="4159" y="660"/>
                  </a:cubicBezTo>
                  <a:cubicBezTo>
                    <a:pt x="4154" y="654"/>
                    <a:pt x="4149" y="649"/>
                    <a:pt x="4149" y="644"/>
                  </a:cubicBezTo>
                  <a:cubicBezTo>
                    <a:pt x="4134" y="634"/>
                    <a:pt x="4123" y="629"/>
                    <a:pt x="4113" y="619"/>
                  </a:cubicBezTo>
                  <a:cubicBezTo>
                    <a:pt x="4113" y="614"/>
                    <a:pt x="4108" y="614"/>
                    <a:pt x="4108" y="609"/>
                  </a:cubicBezTo>
                  <a:cubicBezTo>
                    <a:pt x="3642" y="204"/>
                    <a:pt x="3059" y="0"/>
                    <a:pt x="2476" y="0"/>
                  </a:cubicBezTo>
                  <a:close/>
                </a:path>
              </a:pathLst>
            </a:custGeom>
            <a:solidFill>
              <a:srgbClr val="CFA17B">
                <a:alpha val="36710"/>
              </a:srgbClr>
            </a:solidFill>
            <a:ln>
              <a:noFill/>
            </a:ln>
          </p:spPr>
          <p:txBody>
            <a:bodyPr spcFirstLastPara="1" wrap="square" lIns="90000" tIns="45000" rIns="90000" bIns="45000" anchor="ctr" anchorCtr="1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0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22" name="Google Shape;122;p4"/>
            <p:cNvPicPr preferRelativeResize="0"/>
            <p:nvPr/>
          </p:nvPicPr>
          <p:blipFill rotWithShape="1">
            <a:blip r:embed="rId6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2005365">
              <a:off x="8553711" y="1251469"/>
              <a:ext cx="1237854" cy="1226413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23" name="Google Shape;123;p4"/>
          <p:cNvGrpSpPr/>
          <p:nvPr/>
        </p:nvGrpSpPr>
        <p:grpSpPr>
          <a:xfrm rot="895619">
            <a:off x="6033326" y="86506"/>
            <a:ext cx="652537" cy="652325"/>
            <a:chOff x="4733989" y="511904"/>
            <a:chExt cx="489380" cy="489221"/>
          </a:xfrm>
        </p:grpSpPr>
        <p:sp>
          <p:nvSpPr>
            <p:cNvPr id="124" name="Google Shape;124;p4"/>
            <p:cNvSpPr/>
            <p:nvPr/>
          </p:nvSpPr>
          <p:spPr>
            <a:xfrm rot="-2016437">
              <a:off x="4863019" y="615874"/>
              <a:ext cx="283909" cy="283692"/>
            </a:xfrm>
            <a:custGeom>
              <a:avLst/>
              <a:gdLst/>
              <a:ahLst/>
              <a:cxnLst/>
              <a:rect l="l" t="t" r="r" b="b"/>
              <a:pathLst>
                <a:path w="6037" h="6033" extrusionOk="0">
                  <a:moveTo>
                    <a:pt x="3361" y="6033"/>
                  </a:moveTo>
                  <a:lnTo>
                    <a:pt x="3361" y="6033"/>
                  </a:lnTo>
                  <a:cubicBezTo>
                    <a:pt x="3337" y="6033"/>
                    <a:pt x="3313" y="6033"/>
                    <a:pt x="3289" y="6033"/>
                  </a:cubicBezTo>
                  <a:cubicBezTo>
                    <a:pt x="3177" y="6018"/>
                    <a:pt x="3100" y="5950"/>
                    <a:pt x="3056" y="5848"/>
                  </a:cubicBezTo>
                  <a:cubicBezTo>
                    <a:pt x="2949" y="5586"/>
                    <a:pt x="2838" y="5329"/>
                    <a:pt x="2731" y="5072"/>
                  </a:cubicBezTo>
                  <a:cubicBezTo>
                    <a:pt x="2624" y="4821"/>
                    <a:pt x="2518" y="4564"/>
                    <a:pt x="2406" y="4312"/>
                  </a:cubicBezTo>
                  <a:cubicBezTo>
                    <a:pt x="2338" y="4142"/>
                    <a:pt x="2169" y="4059"/>
                    <a:pt x="1989" y="4098"/>
                  </a:cubicBezTo>
                  <a:cubicBezTo>
                    <a:pt x="1553" y="4200"/>
                    <a:pt x="1116" y="4297"/>
                    <a:pt x="680" y="4394"/>
                  </a:cubicBezTo>
                  <a:cubicBezTo>
                    <a:pt x="559" y="4423"/>
                    <a:pt x="448" y="4457"/>
                    <a:pt x="326" y="4472"/>
                  </a:cubicBezTo>
                  <a:cubicBezTo>
                    <a:pt x="215" y="4491"/>
                    <a:pt x="123" y="4447"/>
                    <a:pt x="55" y="4355"/>
                  </a:cubicBezTo>
                  <a:cubicBezTo>
                    <a:pt x="-37" y="4224"/>
                    <a:pt x="-13" y="4064"/>
                    <a:pt x="108" y="3963"/>
                  </a:cubicBezTo>
                  <a:cubicBezTo>
                    <a:pt x="253" y="3836"/>
                    <a:pt x="394" y="3710"/>
                    <a:pt x="540" y="3589"/>
                  </a:cubicBezTo>
                  <a:cubicBezTo>
                    <a:pt x="719" y="3434"/>
                    <a:pt x="898" y="3274"/>
                    <a:pt x="1078" y="3119"/>
                  </a:cubicBezTo>
                  <a:cubicBezTo>
                    <a:pt x="1141" y="3070"/>
                    <a:pt x="1199" y="3017"/>
                    <a:pt x="1257" y="2965"/>
                  </a:cubicBezTo>
                  <a:cubicBezTo>
                    <a:pt x="1359" y="2868"/>
                    <a:pt x="1417" y="2752"/>
                    <a:pt x="1431" y="2611"/>
                  </a:cubicBezTo>
                  <a:cubicBezTo>
                    <a:pt x="1451" y="2471"/>
                    <a:pt x="1407" y="2344"/>
                    <a:pt x="1335" y="2228"/>
                  </a:cubicBezTo>
                  <a:cubicBezTo>
                    <a:pt x="1088" y="1811"/>
                    <a:pt x="840" y="1394"/>
                    <a:pt x="588" y="977"/>
                  </a:cubicBezTo>
                  <a:cubicBezTo>
                    <a:pt x="496" y="812"/>
                    <a:pt x="554" y="623"/>
                    <a:pt x="719" y="551"/>
                  </a:cubicBezTo>
                  <a:cubicBezTo>
                    <a:pt x="797" y="517"/>
                    <a:pt x="879" y="517"/>
                    <a:pt x="952" y="556"/>
                  </a:cubicBezTo>
                  <a:cubicBezTo>
                    <a:pt x="1044" y="599"/>
                    <a:pt x="1126" y="657"/>
                    <a:pt x="1213" y="710"/>
                  </a:cubicBezTo>
                  <a:cubicBezTo>
                    <a:pt x="1567" y="924"/>
                    <a:pt x="1921" y="1137"/>
                    <a:pt x="2275" y="1350"/>
                  </a:cubicBezTo>
                  <a:cubicBezTo>
                    <a:pt x="2503" y="1486"/>
                    <a:pt x="2794" y="1448"/>
                    <a:pt x="2973" y="1258"/>
                  </a:cubicBezTo>
                  <a:cubicBezTo>
                    <a:pt x="3061" y="1171"/>
                    <a:pt x="3138" y="1074"/>
                    <a:pt x="3216" y="987"/>
                  </a:cubicBezTo>
                  <a:cubicBezTo>
                    <a:pt x="3323" y="866"/>
                    <a:pt x="3424" y="744"/>
                    <a:pt x="3531" y="628"/>
                  </a:cubicBezTo>
                  <a:cubicBezTo>
                    <a:pt x="3652" y="483"/>
                    <a:pt x="3778" y="342"/>
                    <a:pt x="3904" y="202"/>
                  </a:cubicBezTo>
                  <a:cubicBezTo>
                    <a:pt x="3948" y="153"/>
                    <a:pt x="3982" y="100"/>
                    <a:pt x="4035" y="61"/>
                  </a:cubicBezTo>
                  <a:cubicBezTo>
                    <a:pt x="4127" y="-12"/>
                    <a:pt x="4229" y="-16"/>
                    <a:pt x="4331" y="32"/>
                  </a:cubicBezTo>
                  <a:cubicBezTo>
                    <a:pt x="4438" y="80"/>
                    <a:pt x="4496" y="168"/>
                    <a:pt x="4496" y="284"/>
                  </a:cubicBezTo>
                  <a:cubicBezTo>
                    <a:pt x="4501" y="347"/>
                    <a:pt x="4476" y="405"/>
                    <a:pt x="4462" y="468"/>
                  </a:cubicBezTo>
                  <a:cubicBezTo>
                    <a:pt x="4374" y="851"/>
                    <a:pt x="4282" y="1234"/>
                    <a:pt x="4200" y="1617"/>
                  </a:cubicBezTo>
                  <a:cubicBezTo>
                    <a:pt x="4137" y="1893"/>
                    <a:pt x="4210" y="2141"/>
                    <a:pt x="4389" y="2354"/>
                  </a:cubicBezTo>
                  <a:cubicBezTo>
                    <a:pt x="4481" y="2461"/>
                    <a:pt x="4597" y="2529"/>
                    <a:pt x="4724" y="2587"/>
                  </a:cubicBezTo>
                  <a:cubicBezTo>
                    <a:pt x="5102" y="2747"/>
                    <a:pt x="5480" y="2907"/>
                    <a:pt x="5863" y="3070"/>
                  </a:cubicBezTo>
                  <a:cubicBezTo>
                    <a:pt x="5975" y="3119"/>
                    <a:pt x="6037" y="3211"/>
                    <a:pt x="6037" y="3337"/>
                  </a:cubicBezTo>
                  <a:cubicBezTo>
                    <a:pt x="6037" y="3351"/>
                    <a:pt x="6037" y="3361"/>
                    <a:pt x="6037" y="3376"/>
                  </a:cubicBezTo>
                  <a:cubicBezTo>
                    <a:pt x="6013" y="3526"/>
                    <a:pt x="5911" y="3613"/>
                    <a:pt x="5761" y="3628"/>
                  </a:cubicBezTo>
                  <a:cubicBezTo>
                    <a:pt x="5586" y="3642"/>
                    <a:pt x="5417" y="3657"/>
                    <a:pt x="5242" y="3672"/>
                  </a:cubicBezTo>
                  <a:cubicBezTo>
                    <a:pt x="5107" y="3686"/>
                    <a:pt x="4971" y="3696"/>
                    <a:pt x="4830" y="3706"/>
                  </a:cubicBezTo>
                  <a:cubicBezTo>
                    <a:pt x="4695" y="3720"/>
                    <a:pt x="4559" y="3730"/>
                    <a:pt x="4423" y="3744"/>
                  </a:cubicBezTo>
                  <a:cubicBezTo>
                    <a:pt x="4350" y="3749"/>
                    <a:pt x="4273" y="3754"/>
                    <a:pt x="4195" y="3774"/>
                  </a:cubicBezTo>
                  <a:cubicBezTo>
                    <a:pt x="3967" y="3841"/>
                    <a:pt x="3778" y="4059"/>
                    <a:pt x="3754" y="4302"/>
                  </a:cubicBezTo>
                  <a:cubicBezTo>
                    <a:pt x="3734" y="4433"/>
                    <a:pt x="3725" y="4573"/>
                    <a:pt x="3715" y="4709"/>
                  </a:cubicBezTo>
                  <a:cubicBezTo>
                    <a:pt x="3700" y="4835"/>
                    <a:pt x="3691" y="4961"/>
                    <a:pt x="3676" y="5087"/>
                  </a:cubicBezTo>
                  <a:cubicBezTo>
                    <a:pt x="3667" y="5218"/>
                    <a:pt x="3657" y="5344"/>
                    <a:pt x="3642" y="5470"/>
                  </a:cubicBezTo>
                  <a:cubicBezTo>
                    <a:pt x="3633" y="5577"/>
                    <a:pt x="3628" y="5688"/>
                    <a:pt x="3613" y="5795"/>
                  </a:cubicBezTo>
                  <a:cubicBezTo>
                    <a:pt x="3594" y="5926"/>
                    <a:pt x="3492" y="6018"/>
                    <a:pt x="3361" y="6033"/>
                  </a:cubicBezTo>
                  <a:close/>
                </a:path>
              </a:pathLst>
            </a:custGeom>
            <a:solidFill>
              <a:srgbClr val="CFA17B">
                <a:alpha val="36710"/>
              </a:srgbClr>
            </a:solidFill>
            <a:ln>
              <a:noFill/>
            </a:ln>
          </p:spPr>
          <p:txBody>
            <a:bodyPr spcFirstLastPara="1" wrap="square" lIns="90000" tIns="45000" rIns="90000" bIns="45000" anchor="ctr" anchorCtr="1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0" strike="noStrik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25" name="Google Shape;125;p4"/>
            <p:cNvPicPr preferRelativeResize="0"/>
            <p:nvPr/>
          </p:nvPicPr>
          <p:blipFill>
            <a:blip r:embed="rId7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-2016466">
              <a:off x="4802209" y="580054"/>
              <a:ext cx="352940" cy="35292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26" name="Google Shape;126;p4"/>
          <p:cNvSpPr txBox="1">
            <a:spLocks noGrp="1"/>
          </p:cNvSpPr>
          <p:nvPr>
            <p:ph type="title"/>
          </p:nvPr>
        </p:nvSpPr>
        <p:spPr>
          <a:xfrm>
            <a:off x="960000" y="719333"/>
            <a:ext cx="10272000" cy="7636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127" name="Google Shape;127;p4"/>
          <p:cNvSpPr txBox="1">
            <a:spLocks noGrp="1"/>
          </p:cNvSpPr>
          <p:nvPr>
            <p:ph type="body" idx="1"/>
          </p:nvPr>
        </p:nvSpPr>
        <p:spPr>
          <a:xfrm>
            <a:off x="960000" y="1536633"/>
            <a:ext cx="10272000" cy="487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 algn="ctr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1219170" lvl="1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Darker Grotesque SemiBold"/>
              <a:buChar char="○"/>
              <a:defRPr/>
            </a:lvl2pPr>
            <a:lvl3pPr marL="1828754" lvl="2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Darker Grotesque SemiBold"/>
              <a:buChar char="■"/>
              <a:defRPr/>
            </a:lvl3pPr>
            <a:lvl4pPr marL="2438339" lvl="3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Darker Grotesque SemiBold"/>
              <a:buChar char="●"/>
              <a:defRPr/>
            </a:lvl4pPr>
            <a:lvl5pPr marL="3047924" lvl="4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Darker Grotesque SemiBold"/>
              <a:buChar char="○"/>
              <a:defRPr/>
            </a:lvl5pPr>
            <a:lvl6pPr marL="3657509" lvl="5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Darker Grotesque SemiBold"/>
              <a:buChar char="■"/>
              <a:defRPr/>
            </a:lvl6pPr>
            <a:lvl7pPr marL="4267093" lvl="6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Darker Grotesque SemiBold"/>
              <a:buChar char="●"/>
              <a:defRPr/>
            </a:lvl7pPr>
            <a:lvl8pPr marL="4876678" lvl="7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Darker Grotesque SemiBold"/>
              <a:buChar char="○"/>
              <a:defRPr/>
            </a:lvl8pPr>
            <a:lvl9pPr marL="5486263" lvl="8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Darker Grotesque SemiBold"/>
              <a:buChar char="■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70128653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oogle Shape;25;p5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Google Shape;26;p5"/>
          <p:cNvSpPr/>
          <p:nvPr/>
        </p:nvSpPr>
        <p:spPr>
          <a:xfrm>
            <a:off x="-67" y="0"/>
            <a:ext cx="12192000" cy="6858000"/>
          </a:xfrm>
          <a:prstGeom prst="rect">
            <a:avLst/>
          </a:prstGeom>
          <a:solidFill>
            <a:srgbClr val="FFFFFF">
              <a:alpha val="58929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27" name="Google Shape;27;p5"/>
          <p:cNvSpPr txBox="1">
            <a:spLocks noGrp="1"/>
          </p:cNvSpPr>
          <p:nvPr>
            <p:ph type="subTitle" idx="1"/>
          </p:nvPr>
        </p:nvSpPr>
        <p:spPr>
          <a:xfrm>
            <a:off x="1499833" y="3749033"/>
            <a:ext cx="4070400" cy="13892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rgbClr val="42424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424245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5"/>
          <p:cNvSpPr txBox="1">
            <a:spLocks noGrp="1"/>
          </p:cNvSpPr>
          <p:nvPr>
            <p:ph type="subTitle" idx="2"/>
          </p:nvPr>
        </p:nvSpPr>
        <p:spPr>
          <a:xfrm>
            <a:off x="6615885" y="3749033"/>
            <a:ext cx="4070400" cy="13892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rgbClr val="42424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424245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5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7524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rgbClr val="42424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>
                <a:solidFill>
                  <a:srgbClr val="424245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5"/>
          <p:cNvSpPr txBox="1">
            <a:spLocks noGrp="1"/>
          </p:cNvSpPr>
          <p:nvPr>
            <p:ph type="title" idx="3"/>
          </p:nvPr>
        </p:nvSpPr>
        <p:spPr>
          <a:xfrm>
            <a:off x="1499033" y="3045433"/>
            <a:ext cx="4072000" cy="703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rgbClr val="42424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>
                <a:solidFill>
                  <a:srgbClr val="424245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31" name="Google Shape;31;p5"/>
          <p:cNvSpPr txBox="1">
            <a:spLocks noGrp="1"/>
          </p:cNvSpPr>
          <p:nvPr>
            <p:ph type="title" idx="4"/>
          </p:nvPr>
        </p:nvSpPr>
        <p:spPr>
          <a:xfrm>
            <a:off x="6615085" y="3045433"/>
            <a:ext cx="4072000" cy="703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rgbClr val="42424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>
                <a:solidFill>
                  <a:srgbClr val="424245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59780423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6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6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6/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oogle Shape;43;p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" name="Google Shape;44;p3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" name="Google Shape;45;p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" name="Google Shape;46;p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47;p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" name="Google Shape;48;p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3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" name="Google Shape;51;p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" name="Google Shape;52;p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72652782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9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658486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578072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98914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680660955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680660955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0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5677796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124836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54312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64467406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0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5677796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1248361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1684694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438968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871782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694493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35050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2318659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774020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011711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336372206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031328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2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9/16/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14610509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23" indent="0">
              <a:buNone/>
              <a:defRPr sz="1200"/>
            </a:lvl2pPr>
            <a:lvl3pPr marL="914446" indent="0">
              <a:buNone/>
              <a:defRPr sz="1000"/>
            </a:lvl3pPr>
            <a:lvl4pPr marL="1371669" indent="0">
              <a:buNone/>
              <a:defRPr sz="900"/>
            </a:lvl4pPr>
            <a:lvl5pPr marL="1828891" indent="0">
              <a:buNone/>
              <a:defRPr sz="900"/>
            </a:lvl5pPr>
            <a:lvl6pPr marL="2286114" indent="0">
              <a:buNone/>
              <a:defRPr sz="900"/>
            </a:lvl6pPr>
            <a:lvl7pPr marL="2743337" indent="0">
              <a:buNone/>
              <a:defRPr sz="900"/>
            </a:lvl7pPr>
            <a:lvl8pPr marL="3200560" indent="0">
              <a:buNone/>
              <a:defRPr sz="900"/>
            </a:lvl8pPr>
            <a:lvl9pPr marL="365778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9/16/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50515904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53644344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6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8653374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6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8653374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2483459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04194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43003970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89622913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336188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20332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336188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20332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489293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40569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1105823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577239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3035621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901327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52467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305507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52467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305507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177511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909929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38498237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36365882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0865632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34488667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30473943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550117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5824695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6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238912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2020187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2254879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914057"/>
      </p:ext>
    </p:extLst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98914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">
    <p:bg>
      <p:bgPr>
        <a:solidFill>
          <a:schemeClr val="lt2"/>
        </a:solid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5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4" name="Google Shape;64;p5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65;p5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66;p5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7" name="Google Shape;67;p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8" name="Google Shape;68;p5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" name="Google Shape;69;p5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62024378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1" name="Google Shape;71;p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" name="Google Shape;72;p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" name="Google Shape;73;p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" name="Google Shape;74;p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" name="Google Shape;76;p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" name="Google Shape;78;p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" name="Google Shape;79;p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16851664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Line Title (Blank, Logo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2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20" y="533969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342900" indent="0">
              <a:buNone/>
              <a:defRPr b="1">
                <a:solidFill>
                  <a:srgbClr val="8C2347"/>
                </a:solidFill>
              </a:defRPr>
            </a:lvl2pPr>
            <a:lvl3pPr marL="685800" indent="0">
              <a:buNone/>
              <a:defRPr b="1">
                <a:solidFill>
                  <a:srgbClr val="8C2347"/>
                </a:solidFill>
              </a:defRPr>
            </a:lvl3pPr>
            <a:lvl4pPr marL="1028700" indent="0">
              <a:buNone/>
              <a:defRPr b="1">
                <a:solidFill>
                  <a:srgbClr val="8C2347"/>
                </a:solidFill>
              </a:defRPr>
            </a:lvl4pPr>
            <a:lvl5pPr marL="13716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4" y="5955178"/>
            <a:ext cx="2376668" cy="902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sp>
        <p:nvSpPr>
          <p:cNvPr id="5" name="Rectangle 4"/>
          <p:cNvSpPr/>
          <p:nvPr userDrawn="1"/>
        </p:nvSpPr>
        <p:spPr>
          <a:xfrm>
            <a:off x="9815334" y="77979"/>
            <a:ext cx="2376668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pic>
        <p:nvPicPr>
          <p:cNvPr id="7" name="Picture 6" descr="LM_LUMC_3C_V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7747" y="317115"/>
            <a:ext cx="1653863" cy="574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985061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Line Title (Blank, Logo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2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20" y="533969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342900" indent="0">
              <a:buNone/>
              <a:defRPr b="1">
                <a:solidFill>
                  <a:srgbClr val="8C2347"/>
                </a:solidFill>
              </a:defRPr>
            </a:lvl2pPr>
            <a:lvl3pPr marL="685800" indent="0">
              <a:buNone/>
              <a:defRPr b="1">
                <a:solidFill>
                  <a:srgbClr val="8C2347"/>
                </a:solidFill>
              </a:defRPr>
            </a:lvl3pPr>
            <a:lvl4pPr marL="1028700" indent="0">
              <a:buNone/>
              <a:defRPr b="1">
                <a:solidFill>
                  <a:srgbClr val="8C2347"/>
                </a:solidFill>
              </a:defRPr>
            </a:lvl4pPr>
            <a:lvl5pPr marL="13716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4" y="5955178"/>
            <a:ext cx="2376668" cy="902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sp>
        <p:nvSpPr>
          <p:cNvPr id="5" name="Rectangle 4"/>
          <p:cNvSpPr/>
          <p:nvPr userDrawn="1"/>
        </p:nvSpPr>
        <p:spPr>
          <a:xfrm>
            <a:off x="9815334" y="77979"/>
            <a:ext cx="2376668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pic>
        <p:nvPicPr>
          <p:cNvPr id="7" name="Picture 6" descr="LM_LUMC_3C_V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7747" y="317115"/>
            <a:ext cx="1653863" cy="574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985061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Line Title (Logo 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1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19" y="533967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457200" indent="0">
              <a:buNone/>
              <a:defRPr b="1">
                <a:solidFill>
                  <a:srgbClr val="8C2347"/>
                </a:solidFill>
              </a:defRPr>
            </a:lvl2pPr>
            <a:lvl3pPr marL="914400" indent="0">
              <a:buNone/>
              <a:defRPr b="1">
                <a:solidFill>
                  <a:srgbClr val="8C2347"/>
                </a:solidFill>
              </a:defRPr>
            </a:lvl3pPr>
            <a:lvl4pPr marL="1371600" indent="0">
              <a:buNone/>
              <a:defRPr b="1">
                <a:solidFill>
                  <a:srgbClr val="8C2347"/>
                </a:solidFill>
              </a:defRPr>
            </a:lvl4pPr>
            <a:lvl5pPr marL="18288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3" y="5694745"/>
            <a:ext cx="2376668" cy="1163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00619" y="1359436"/>
            <a:ext cx="10768892" cy="4982097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Arial"/>
                <a:ea typeface="Times New Roman" charset="0"/>
                <a:cs typeface="Arial"/>
              </a:defRPr>
            </a:lvl1pPr>
            <a:lvl2pPr marL="4572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2pPr>
            <a:lvl3pPr marL="9144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3pPr>
            <a:lvl4pPr marL="13716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4pPr>
            <a:lvl5pPr marL="18288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5pPr>
          </a:lstStyle>
          <a:p>
            <a:pPr lvl="0"/>
            <a:r>
              <a:rPr lang="en-US"/>
              <a:t>Sample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842179098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oogle Shape;9;p2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Google Shape;10;p2"/>
          <p:cNvSpPr/>
          <p:nvPr/>
        </p:nvSpPr>
        <p:spPr>
          <a:xfrm>
            <a:off x="-67" y="0"/>
            <a:ext cx="12192000" cy="6858000"/>
          </a:xfrm>
          <a:prstGeom prst="rect">
            <a:avLst/>
          </a:prstGeom>
          <a:gradFill>
            <a:gsLst>
              <a:gs pos="0">
                <a:srgbClr val="FFFFFF">
                  <a:alpha val="29019"/>
                </a:srgbClr>
              </a:gs>
              <a:gs pos="50000">
                <a:srgbClr val="FFFFFF">
                  <a:alpha val="85882"/>
                </a:srgbClr>
              </a:gs>
              <a:gs pos="100000">
                <a:srgbClr val="FFFFFF">
                  <a:alpha val="29019"/>
                </a:srgbClr>
              </a:gs>
            </a:gsLst>
            <a:lin ang="10800025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 rot="21599322">
            <a:off x="2041832" y="4913845"/>
            <a:ext cx="8108400" cy="5684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rgbClr val="42424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424245"/>
                </a:solidFill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2041833" y="720000"/>
            <a:ext cx="8108400" cy="37044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rgbClr val="42424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12800">
                <a:solidFill>
                  <a:srgbClr val="424245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6933">
                <a:solidFill>
                  <a:srgbClr val="191919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6933">
                <a:solidFill>
                  <a:srgbClr val="191919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6933">
                <a:solidFill>
                  <a:srgbClr val="191919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6933">
                <a:solidFill>
                  <a:srgbClr val="191919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6933">
                <a:solidFill>
                  <a:srgbClr val="191919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6933">
                <a:solidFill>
                  <a:srgbClr val="191919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6933">
                <a:solidFill>
                  <a:srgbClr val="191919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6933">
                <a:solidFill>
                  <a:srgbClr val="191919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oogle Shape;14;p3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" y="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Google Shape;15;p3"/>
          <p:cNvSpPr/>
          <p:nvPr/>
        </p:nvSpPr>
        <p:spPr>
          <a:xfrm>
            <a:off x="-67" y="0"/>
            <a:ext cx="12192000" cy="6858000"/>
          </a:xfrm>
          <a:prstGeom prst="rect">
            <a:avLst/>
          </a:prstGeom>
          <a:solidFill>
            <a:srgbClr val="FFFFFF">
              <a:alpha val="7440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6" name="Google Shape;16;p3"/>
          <p:cNvSpPr txBox="1">
            <a:spLocks noGrp="1"/>
          </p:cNvSpPr>
          <p:nvPr>
            <p:ph type="title"/>
          </p:nvPr>
        </p:nvSpPr>
        <p:spPr>
          <a:xfrm>
            <a:off x="3189200" y="3142933"/>
            <a:ext cx="5813600" cy="112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5733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7" name="Google Shape;17;p3"/>
          <p:cNvSpPr txBox="1">
            <a:spLocks noGrp="1"/>
          </p:cNvSpPr>
          <p:nvPr>
            <p:ph type="title" idx="2" hasCustomPrompt="1"/>
          </p:nvPr>
        </p:nvSpPr>
        <p:spPr>
          <a:xfrm>
            <a:off x="5062600" y="1434132"/>
            <a:ext cx="2066800" cy="17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10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9pPr>
          </a:lstStyle>
          <a:p>
            <a:r>
              <a:t>xx%</a:t>
            </a:r>
          </a:p>
        </p:txBody>
      </p:sp>
      <p:sp>
        <p:nvSpPr>
          <p:cNvPr id="18" name="Google Shape;18;p3"/>
          <p:cNvSpPr txBox="1">
            <a:spLocks noGrp="1"/>
          </p:cNvSpPr>
          <p:nvPr>
            <p:ph type="subTitle" idx="1"/>
          </p:nvPr>
        </p:nvSpPr>
        <p:spPr>
          <a:xfrm rot="473">
            <a:off x="3189200" y="4837867"/>
            <a:ext cx="5813600" cy="585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oogle Shape;20;p4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-1" y="3"/>
            <a:ext cx="12192004" cy="6857995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Google Shape;21;p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7440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22" name="Google Shape;22;p4"/>
          <p:cNvSpPr txBox="1">
            <a:spLocks noGrp="1"/>
          </p:cNvSpPr>
          <p:nvPr>
            <p:ph type="title"/>
          </p:nvPr>
        </p:nvSpPr>
        <p:spPr>
          <a:xfrm>
            <a:off x="960000" y="1093484"/>
            <a:ext cx="10272000" cy="75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4"/>
          <p:cNvSpPr txBox="1">
            <a:spLocks noGrp="1"/>
          </p:cNvSpPr>
          <p:nvPr>
            <p:ph type="body" idx="1"/>
          </p:nvPr>
        </p:nvSpPr>
        <p:spPr>
          <a:xfrm>
            <a:off x="960000" y="2022919"/>
            <a:ext cx="10272000" cy="3741600"/>
          </a:xfrm>
          <a:prstGeom prst="rect">
            <a:avLst/>
          </a:prstGeom>
          <a:solidFill>
            <a:srgbClr val="FFFFFF">
              <a:alpha val="7440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Char char="●"/>
              <a:defRPr>
                <a:solidFill>
                  <a:srgbClr val="434343"/>
                </a:solidFill>
              </a:defRPr>
            </a:lvl1pPr>
            <a:lvl2pPr marL="1219170" lvl="1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Char char="○"/>
              <a:defRPr>
                <a:solidFill>
                  <a:srgbClr val="434343"/>
                </a:solidFill>
              </a:defRPr>
            </a:lvl2pPr>
            <a:lvl3pPr marL="1828754" lvl="2" indent="-423323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400"/>
              <a:buChar char="■"/>
              <a:defRPr>
                <a:solidFill>
                  <a:srgbClr val="434343"/>
                </a:solidFill>
              </a:defRPr>
            </a:lvl3pPr>
            <a:lvl4pPr marL="2438339" lvl="3" indent="-423323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400"/>
              <a:buChar char="●"/>
              <a:defRPr>
                <a:solidFill>
                  <a:srgbClr val="434343"/>
                </a:solidFill>
              </a:defRPr>
            </a:lvl4pPr>
            <a:lvl5pPr marL="3047924" lvl="4" indent="-423323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400"/>
              <a:buChar char="○"/>
              <a:defRPr>
                <a:solidFill>
                  <a:srgbClr val="434343"/>
                </a:solidFill>
              </a:defRPr>
            </a:lvl5pPr>
            <a:lvl6pPr marL="3657509" lvl="5" indent="-423323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400"/>
              <a:buChar char="■"/>
              <a:defRPr>
                <a:solidFill>
                  <a:srgbClr val="434343"/>
                </a:solidFill>
              </a:defRPr>
            </a:lvl6pPr>
            <a:lvl7pPr marL="4267093" lvl="6" indent="-423323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400"/>
              <a:buChar char="●"/>
              <a:defRPr>
                <a:solidFill>
                  <a:srgbClr val="434343"/>
                </a:solidFill>
              </a:defRPr>
            </a:lvl7pPr>
            <a:lvl8pPr marL="4876678" lvl="7" indent="-423323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400"/>
              <a:buChar char="○"/>
              <a:defRPr>
                <a:solidFill>
                  <a:srgbClr val="434343"/>
                </a:solidFill>
              </a:defRPr>
            </a:lvl8pPr>
            <a:lvl9pPr marL="5486263" lvl="8" indent="-423323" rtl="0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Clr>
                <a:srgbClr val="434343"/>
              </a:buClr>
              <a:buSzPts val="1400"/>
              <a:buChar char="■"/>
              <a:defRPr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6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6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771967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oogle Shape;25;p5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Google Shape;26;p5"/>
          <p:cNvSpPr/>
          <p:nvPr/>
        </p:nvSpPr>
        <p:spPr>
          <a:xfrm>
            <a:off x="-67" y="0"/>
            <a:ext cx="12192000" cy="6858000"/>
          </a:xfrm>
          <a:prstGeom prst="rect">
            <a:avLst/>
          </a:prstGeom>
          <a:solidFill>
            <a:srgbClr val="FFFFFF">
              <a:alpha val="58929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27" name="Google Shape;27;p5"/>
          <p:cNvSpPr txBox="1">
            <a:spLocks noGrp="1"/>
          </p:cNvSpPr>
          <p:nvPr>
            <p:ph type="subTitle" idx="1"/>
          </p:nvPr>
        </p:nvSpPr>
        <p:spPr>
          <a:xfrm>
            <a:off x="1499833" y="3749033"/>
            <a:ext cx="4070400" cy="13892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rgbClr val="42424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424245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5"/>
          <p:cNvSpPr txBox="1">
            <a:spLocks noGrp="1"/>
          </p:cNvSpPr>
          <p:nvPr>
            <p:ph type="subTitle" idx="2"/>
          </p:nvPr>
        </p:nvSpPr>
        <p:spPr>
          <a:xfrm>
            <a:off x="6615885" y="3749033"/>
            <a:ext cx="4070400" cy="13892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rgbClr val="42424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424245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5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7524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rgbClr val="42424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>
                <a:solidFill>
                  <a:srgbClr val="424245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5"/>
          <p:cNvSpPr txBox="1">
            <a:spLocks noGrp="1"/>
          </p:cNvSpPr>
          <p:nvPr>
            <p:ph type="title" idx="3"/>
          </p:nvPr>
        </p:nvSpPr>
        <p:spPr>
          <a:xfrm>
            <a:off x="1499033" y="3045433"/>
            <a:ext cx="4072000" cy="703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rgbClr val="42424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>
                <a:solidFill>
                  <a:srgbClr val="424245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31" name="Google Shape;31;p5"/>
          <p:cNvSpPr txBox="1">
            <a:spLocks noGrp="1"/>
          </p:cNvSpPr>
          <p:nvPr>
            <p:ph type="title" idx="4"/>
          </p:nvPr>
        </p:nvSpPr>
        <p:spPr>
          <a:xfrm>
            <a:off x="6615085" y="3045433"/>
            <a:ext cx="4072000" cy="703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rgbClr val="42424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>
                <a:solidFill>
                  <a:srgbClr val="424245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Google Shape;33;p6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34" name="Google Shape;34;p6"/>
          <p:cNvSpPr/>
          <p:nvPr/>
        </p:nvSpPr>
        <p:spPr>
          <a:xfrm>
            <a:off x="-67" y="0"/>
            <a:ext cx="12192000" cy="6858000"/>
          </a:xfrm>
          <a:prstGeom prst="rect">
            <a:avLst/>
          </a:prstGeom>
          <a:solidFill>
            <a:srgbClr val="FFFFFF">
              <a:alpha val="7440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35" name="Google Shape;35;p6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7524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Google Shape;37;p7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38" name="Google Shape;38;p7"/>
          <p:cNvSpPr/>
          <p:nvPr/>
        </p:nvSpPr>
        <p:spPr>
          <a:xfrm>
            <a:off x="-67" y="0"/>
            <a:ext cx="12192000" cy="6858000"/>
          </a:xfrm>
          <a:prstGeom prst="rect">
            <a:avLst/>
          </a:prstGeom>
          <a:solidFill>
            <a:srgbClr val="FFFFFF">
              <a:alpha val="7440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39" name="Google Shape;39;p7"/>
          <p:cNvSpPr txBox="1">
            <a:spLocks noGrp="1"/>
          </p:cNvSpPr>
          <p:nvPr>
            <p:ph type="title"/>
          </p:nvPr>
        </p:nvSpPr>
        <p:spPr>
          <a:xfrm>
            <a:off x="5696700" y="1597400"/>
            <a:ext cx="5535200" cy="75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  <p:sp>
        <p:nvSpPr>
          <p:cNvPr id="40" name="Google Shape;40;p7"/>
          <p:cNvSpPr txBox="1">
            <a:spLocks noGrp="1"/>
          </p:cNvSpPr>
          <p:nvPr>
            <p:ph type="subTitle" idx="1"/>
          </p:nvPr>
        </p:nvSpPr>
        <p:spPr>
          <a:xfrm rot="21599503">
            <a:off x="5696700" y="2350205"/>
            <a:ext cx="5535200" cy="29100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lvl="2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lvl="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lvl="4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lvl="5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lvl="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lvl="7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lvl="8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oogle Shape;42;p8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1" y="2"/>
            <a:ext cx="12192004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43" name="Google Shape;43;p8"/>
          <p:cNvSpPr/>
          <p:nvPr/>
        </p:nvSpPr>
        <p:spPr>
          <a:xfrm>
            <a:off x="-67" y="0"/>
            <a:ext cx="12192000" cy="6858000"/>
          </a:xfrm>
          <a:prstGeom prst="rect">
            <a:avLst/>
          </a:prstGeom>
          <a:solidFill>
            <a:srgbClr val="FFFFFF">
              <a:alpha val="7440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44" name="Google Shape;44;p8"/>
          <p:cNvSpPr txBox="1">
            <a:spLocks noGrp="1"/>
          </p:cNvSpPr>
          <p:nvPr>
            <p:ph type="title"/>
          </p:nvPr>
        </p:nvSpPr>
        <p:spPr>
          <a:xfrm>
            <a:off x="2385600" y="1107000"/>
            <a:ext cx="7420800" cy="4644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15333"/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grpSp>
        <p:nvGrpSpPr>
          <p:cNvPr id="45" name="Google Shape;45;p8"/>
          <p:cNvGrpSpPr/>
          <p:nvPr/>
        </p:nvGrpSpPr>
        <p:grpSpPr>
          <a:xfrm>
            <a:off x="265405" y="4159365"/>
            <a:ext cx="694603" cy="948983"/>
            <a:chOff x="7314698" y="540006"/>
            <a:chExt cx="520952" cy="711737"/>
          </a:xfrm>
        </p:grpSpPr>
        <p:grpSp>
          <p:nvGrpSpPr>
            <p:cNvPr id="46" name="Google Shape;46;p8"/>
            <p:cNvGrpSpPr/>
            <p:nvPr/>
          </p:nvGrpSpPr>
          <p:grpSpPr>
            <a:xfrm>
              <a:off x="7314698" y="540006"/>
              <a:ext cx="520952" cy="711737"/>
              <a:chOff x="7314463" y="437474"/>
              <a:chExt cx="595987" cy="814251"/>
            </a:xfrm>
          </p:grpSpPr>
          <p:sp>
            <p:nvSpPr>
              <p:cNvPr id="47" name="Google Shape;47;p8"/>
              <p:cNvSpPr/>
              <p:nvPr/>
            </p:nvSpPr>
            <p:spPr>
              <a:xfrm>
                <a:off x="7600575" y="932075"/>
                <a:ext cx="309875" cy="319650"/>
              </a:xfrm>
              <a:custGeom>
                <a:avLst/>
                <a:gdLst/>
                <a:ahLst/>
                <a:cxnLst/>
                <a:rect l="l" t="t" r="r" b="b"/>
                <a:pathLst>
                  <a:path w="12395" h="12786" extrusionOk="0">
                    <a:moveTo>
                      <a:pt x="0" y="12786"/>
                    </a:moveTo>
                    <a:lnTo>
                      <a:pt x="12395" y="0"/>
                    </a:lnTo>
                    <a:lnTo>
                      <a:pt x="5173" y="1952"/>
                    </a:lnTo>
                    <a:close/>
                  </a:path>
                </a:pathLst>
              </a:custGeom>
              <a:gradFill>
                <a:gsLst>
                  <a:gs pos="0">
                    <a:srgbClr val="59595B">
                      <a:alpha val="0"/>
                    </a:srgbClr>
                  </a:gs>
                  <a:gs pos="100000">
                    <a:srgbClr val="737373"/>
                  </a:gs>
                </a:gsLst>
                <a:lin ang="8100019" scaled="0"/>
              </a:gradFill>
              <a:ln>
                <a:noFill/>
              </a:ln>
            </p:spPr>
          </p:sp>
          <p:sp>
            <p:nvSpPr>
              <p:cNvPr id="48" name="Google Shape;48;p8"/>
              <p:cNvSpPr/>
              <p:nvPr/>
            </p:nvSpPr>
            <p:spPr>
              <a:xfrm flipH="1">
                <a:off x="7314463" y="437474"/>
                <a:ext cx="552062" cy="812396"/>
              </a:xfrm>
              <a:custGeom>
                <a:avLst/>
                <a:gdLst/>
                <a:ahLst/>
                <a:cxnLst/>
                <a:rect l="l" t="t" r="r" b="b"/>
                <a:pathLst>
                  <a:path w="133027" h="195758" extrusionOk="0">
                    <a:moveTo>
                      <a:pt x="65846" y="26249"/>
                    </a:moveTo>
                    <a:cubicBezTo>
                      <a:pt x="87201" y="26249"/>
                      <a:pt x="104108" y="43156"/>
                      <a:pt x="104108" y="64511"/>
                    </a:cubicBezTo>
                    <a:cubicBezTo>
                      <a:pt x="104108" y="85422"/>
                      <a:pt x="87201" y="102328"/>
                      <a:pt x="65846" y="102328"/>
                    </a:cubicBezTo>
                    <a:cubicBezTo>
                      <a:pt x="44936" y="102328"/>
                      <a:pt x="28029" y="85422"/>
                      <a:pt x="28029" y="64511"/>
                    </a:cubicBezTo>
                    <a:cubicBezTo>
                      <a:pt x="28029" y="43156"/>
                      <a:pt x="44936" y="26249"/>
                      <a:pt x="65846" y="26249"/>
                    </a:cubicBezTo>
                    <a:close/>
                    <a:moveTo>
                      <a:pt x="66291" y="0"/>
                    </a:moveTo>
                    <a:cubicBezTo>
                      <a:pt x="29809" y="0"/>
                      <a:pt x="0" y="29809"/>
                      <a:pt x="0" y="66291"/>
                    </a:cubicBezTo>
                    <a:cubicBezTo>
                      <a:pt x="0" y="84977"/>
                      <a:pt x="18241" y="118345"/>
                      <a:pt x="18241" y="118345"/>
                    </a:cubicBezTo>
                    <a:lnTo>
                      <a:pt x="64066" y="195758"/>
                    </a:lnTo>
                    <a:lnTo>
                      <a:pt x="111671" y="119234"/>
                    </a:lnTo>
                    <a:cubicBezTo>
                      <a:pt x="111671" y="119234"/>
                      <a:pt x="133027" y="87201"/>
                      <a:pt x="133027" y="66291"/>
                    </a:cubicBezTo>
                    <a:cubicBezTo>
                      <a:pt x="133027" y="29809"/>
                      <a:pt x="103218" y="0"/>
                      <a:pt x="66291" y="0"/>
                    </a:cubicBezTo>
                    <a:close/>
                  </a:path>
                </a:pathLst>
              </a:custGeom>
              <a:gradFill>
                <a:gsLst>
                  <a:gs pos="0">
                    <a:srgbClr val="FF2F2F"/>
                  </a:gs>
                  <a:gs pos="100000">
                    <a:srgbClr val="A50707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  <p:sp>
          <p:nvSpPr>
            <p:cNvPr id="49" name="Google Shape;49;p8"/>
            <p:cNvSpPr/>
            <p:nvPr/>
          </p:nvSpPr>
          <p:spPr>
            <a:xfrm flipH="1">
              <a:off x="7314700" y="540819"/>
              <a:ext cx="482555" cy="710112"/>
            </a:xfrm>
            <a:custGeom>
              <a:avLst/>
              <a:gdLst/>
              <a:ahLst/>
              <a:cxnLst/>
              <a:rect l="l" t="t" r="r" b="b"/>
              <a:pathLst>
                <a:path w="133027" h="195758" extrusionOk="0">
                  <a:moveTo>
                    <a:pt x="65846" y="26249"/>
                  </a:moveTo>
                  <a:cubicBezTo>
                    <a:pt x="87201" y="26249"/>
                    <a:pt x="104108" y="43156"/>
                    <a:pt x="104108" y="64511"/>
                  </a:cubicBezTo>
                  <a:cubicBezTo>
                    <a:pt x="104108" y="85422"/>
                    <a:pt x="87201" y="102328"/>
                    <a:pt x="65846" y="102328"/>
                  </a:cubicBezTo>
                  <a:cubicBezTo>
                    <a:pt x="44936" y="102328"/>
                    <a:pt x="28029" y="85422"/>
                    <a:pt x="28029" y="64511"/>
                  </a:cubicBezTo>
                  <a:cubicBezTo>
                    <a:pt x="28029" y="43156"/>
                    <a:pt x="44936" y="26249"/>
                    <a:pt x="65846" y="26249"/>
                  </a:cubicBezTo>
                  <a:close/>
                  <a:moveTo>
                    <a:pt x="66291" y="0"/>
                  </a:moveTo>
                  <a:cubicBezTo>
                    <a:pt x="29809" y="0"/>
                    <a:pt x="0" y="29809"/>
                    <a:pt x="0" y="66291"/>
                  </a:cubicBezTo>
                  <a:cubicBezTo>
                    <a:pt x="0" y="84977"/>
                    <a:pt x="18241" y="118345"/>
                    <a:pt x="18241" y="118345"/>
                  </a:cubicBezTo>
                  <a:lnTo>
                    <a:pt x="64066" y="195758"/>
                  </a:lnTo>
                  <a:lnTo>
                    <a:pt x="111671" y="119234"/>
                  </a:lnTo>
                  <a:cubicBezTo>
                    <a:pt x="111671" y="119234"/>
                    <a:pt x="133027" y="87201"/>
                    <a:pt x="133027" y="66291"/>
                  </a:cubicBezTo>
                  <a:cubicBezTo>
                    <a:pt x="133027" y="29809"/>
                    <a:pt x="103218" y="0"/>
                    <a:pt x="66291" y="0"/>
                  </a:cubicBezTo>
                  <a:close/>
                </a:path>
              </a:pathLst>
            </a:custGeom>
            <a:solidFill>
              <a:srgbClr val="FFFFFF">
                <a:alpha val="2917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Google Shape;51;p9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52" name="Google Shape;52;p9"/>
          <p:cNvSpPr/>
          <p:nvPr/>
        </p:nvSpPr>
        <p:spPr>
          <a:xfrm>
            <a:off x="-67" y="0"/>
            <a:ext cx="12192000" cy="6858000"/>
          </a:xfrm>
          <a:prstGeom prst="rect">
            <a:avLst/>
          </a:prstGeom>
          <a:solidFill>
            <a:srgbClr val="FFFFFF">
              <a:alpha val="7440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3" name="Google Shape;53;p9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7524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54" name="Google Shape;54;p9"/>
          <p:cNvSpPr txBox="1">
            <a:spLocks noGrp="1"/>
          </p:cNvSpPr>
          <p:nvPr>
            <p:ph type="subTitle" idx="1"/>
          </p:nvPr>
        </p:nvSpPr>
        <p:spPr>
          <a:xfrm>
            <a:off x="960000" y="2342567"/>
            <a:ext cx="4998000" cy="32004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" name="Google Shape;55;p9"/>
          <p:cNvSpPr txBox="1">
            <a:spLocks noGrp="1"/>
          </p:cNvSpPr>
          <p:nvPr>
            <p:ph type="subTitle" idx="2"/>
          </p:nvPr>
        </p:nvSpPr>
        <p:spPr>
          <a:xfrm>
            <a:off x="6233833" y="2342567"/>
            <a:ext cx="4998000" cy="32004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6" name="Google Shape;56;p9"/>
          <p:cNvGrpSpPr/>
          <p:nvPr/>
        </p:nvGrpSpPr>
        <p:grpSpPr>
          <a:xfrm>
            <a:off x="11391397" y="4533059"/>
            <a:ext cx="694603" cy="948983"/>
            <a:chOff x="7314698" y="540006"/>
            <a:chExt cx="520952" cy="711737"/>
          </a:xfrm>
        </p:grpSpPr>
        <p:grpSp>
          <p:nvGrpSpPr>
            <p:cNvPr id="57" name="Google Shape;57;p9"/>
            <p:cNvGrpSpPr/>
            <p:nvPr/>
          </p:nvGrpSpPr>
          <p:grpSpPr>
            <a:xfrm>
              <a:off x="7314698" y="540006"/>
              <a:ext cx="520952" cy="711737"/>
              <a:chOff x="7314463" y="437474"/>
              <a:chExt cx="595987" cy="814251"/>
            </a:xfrm>
          </p:grpSpPr>
          <p:sp>
            <p:nvSpPr>
              <p:cNvPr id="58" name="Google Shape;58;p9"/>
              <p:cNvSpPr/>
              <p:nvPr/>
            </p:nvSpPr>
            <p:spPr>
              <a:xfrm>
                <a:off x="7600575" y="932075"/>
                <a:ext cx="309875" cy="319650"/>
              </a:xfrm>
              <a:custGeom>
                <a:avLst/>
                <a:gdLst/>
                <a:ahLst/>
                <a:cxnLst/>
                <a:rect l="l" t="t" r="r" b="b"/>
                <a:pathLst>
                  <a:path w="12395" h="12786" extrusionOk="0">
                    <a:moveTo>
                      <a:pt x="0" y="12786"/>
                    </a:moveTo>
                    <a:lnTo>
                      <a:pt x="12395" y="0"/>
                    </a:lnTo>
                    <a:lnTo>
                      <a:pt x="5173" y="1952"/>
                    </a:lnTo>
                    <a:close/>
                  </a:path>
                </a:pathLst>
              </a:custGeom>
              <a:gradFill>
                <a:gsLst>
                  <a:gs pos="0">
                    <a:srgbClr val="59595B">
                      <a:alpha val="0"/>
                    </a:srgbClr>
                  </a:gs>
                  <a:gs pos="100000">
                    <a:srgbClr val="737373"/>
                  </a:gs>
                </a:gsLst>
                <a:lin ang="8100019" scaled="0"/>
              </a:gradFill>
              <a:ln>
                <a:noFill/>
              </a:ln>
            </p:spPr>
          </p:sp>
          <p:sp>
            <p:nvSpPr>
              <p:cNvPr id="59" name="Google Shape;59;p9"/>
              <p:cNvSpPr/>
              <p:nvPr/>
            </p:nvSpPr>
            <p:spPr>
              <a:xfrm flipH="1">
                <a:off x="7314463" y="437474"/>
                <a:ext cx="552062" cy="812396"/>
              </a:xfrm>
              <a:custGeom>
                <a:avLst/>
                <a:gdLst/>
                <a:ahLst/>
                <a:cxnLst/>
                <a:rect l="l" t="t" r="r" b="b"/>
                <a:pathLst>
                  <a:path w="133027" h="195758" extrusionOk="0">
                    <a:moveTo>
                      <a:pt x="65846" y="26249"/>
                    </a:moveTo>
                    <a:cubicBezTo>
                      <a:pt x="87201" y="26249"/>
                      <a:pt x="104108" y="43156"/>
                      <a:pt x="104108" y="64511"/>
                    </a:cubicBezTo>
                    <a:cubicBezTo>
                      <a:pt x="104108" y="85422"/>
                      <a:pt x="87201" y="102328"/>
                      <a:pt x="65846" y="102328"/>
                    </a:cubicBezTo>
                    <a:cubicBezTo>
                      <a:pt x="44936" y="102328"/>
                      <a:pt x="28029" y="85422"/>
                      <a:pt x="28029" y="64511"/>
                    </a:cubicBezTo>
                    <a:cubicBezTo>
                      <a:pt x="28029" y="43156"/>
                      <a:pt x="44936" y="26249"/>
                      <a:pt x="65846" y="26249"/>
                    </a:cubicBezTo>
                    <a:close/>
                    <a:moveTo>
                      <a:pt x="66291" y="0"/>
                    </a:moveTo>
                    <a:cubicBezTo>
                      <a:pt x="29809" y="0"/>
                      <a:pt x="0" y="29809"/>
                      <a:pt x="0" y="66291"/>
                    </a:cubicBezTo>
                    <a:cubicBezTo>
                      <a:pt x="0" y="84977"/>
                      <a:pt x="18241" y="118345"/>
                      <a:pt x="18241" y="118345"/>
                    </a:cubicBezTo>
                    <a:lnTo>
                      <a:pt x="64066" y="195758"/>
                    </a:lnTo>
                    <a:lnTo>
                      <a:pt x="111671" y="119234"/>
                    </a:lnTo>
                    <a:cubicBezTo>
                      <a:pt x="111671" y="119234"/>
                      <a:pt x="133027" y="87201"/>
                      <a:pt x="133027" y="66291"/>
                    </a:cubicBezTo>
                    <a:cubicBezTo>
                      <a:pt x="133027" y="29809"/>
                      <a:pt x="103218" y="0"/>
                      <a:pt x="66291" y="0"/>
                    </a:cubicBezTo>
                    <a:close/>
                  </a:path>
                </a:pathLst>
              </a:custGeom>
              <a:gradFill>
                <a:gsLst>
                  <a:gs pos="0">
                    <a:srgbClr val="FF2F2F"/>
                  </a:gs>
                  <a:gs pos="100000">
                    <a:srgbClr val="A50707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  <p:sp>
          <p:nvSpPr>
            <p:cNvPr id="60" name="Google Shape;60;p9"/>
            <p:cNvSpPr/>
            <p:nvPr/>
          </p:nvSpPr>
          <p:spPr>
            <a:xfrm flipH="1">
              <a:off x="7314700" y="540819"/>
              <a:ext cx="482555" cy="710112"/>
            </a:xfrm>
            <a:custGeom>
              <a:avLst/>
              <a:gdLst/>
              <a:ahLst/>
              <a:cxnLst/>
              <a:rect l="l" t="t" r="r" b="b"/>
              <a:pathLst>
                <a:path w="133027" h="195758" extrusionOk="0">
                  <a:moveTo>
                    <a:pt x="65846" y="26249"/>
                  </a:moveTo>
                  <a:cubicBezTo>
                    <a:pt x="87201" y="26249"/>
                    <a:pt x="104108" y="43156"/>
                    <a:pt x="104108" y="64511"/>
                  </a:cubicBezTo>
                  <a:cubicBezTo>
                    <a:pt x="104108" y="85422"/>
                    <a:pt x="87201" y="102328"/>
                    <a:pt x="65846" y="102328"/>
                  </a:cubicBezTo>
                  <a:cubicBezTo>
                    <a:pt x="44936" y="102328"/>
                    <a:pt x="28029" y="85422"/>
                    <a:pt x="28029" y="64511"/>
                  </a:cubicBezTo>
                  <a:cubicBezTo>
                    <a:pt x="28029" y="43156"/>
                    <a:pt x="44936" y="26249"/>
                    <a:pt x="65846" y="26249"/>
                  </a:cubicBezTo>
                  <a:close/>
                  <a:moveTo>
                    <a:pt x="66291" y="0"/>
                  </a:moveTo>
                  <a:cubicBezTo>
                    <a:pt x="29809" y="0"/>
                    <a:pt x="0" y="29809"/>
                    <a:pt x="0" y="66291"/>
                  </a:cubicBezTo>
                  <a:cubicBezTo>
                    <a:pt x="0" y="84977"/>
                    <a:pt x="18241" y="118345"/>
                    <a:pt x="18241" y="118345"/>
                  </a:cubicBezTo>
                  <a:lnTo>
                    <a:pt x="64066" y="195758"/>
                  </a:lnTo>
                  <a:lnTo>
                    <a:pt x="111671" y="119234"/>
                  </a:lnTo>
                  <a:cubicBezTo>
                    <a:pt x="111671" y="119234"/>
                    <a:pt x="133027" y="87201"/>
                    <a:pt x="133027" y="66291"/>
                  </a:cubicBezTo>
                  <a:cubicBezTo>
                    <a:pt x="133027" y="29809"/>
                    <a:pt x="103218" y="0"/>
                    <a:pt x="66291" y="0"/>
                  </a:cubicBezTo>
                  <a:close/>
                </a:path>
              </a:pathLst>
            </a:custGeom>
            <a:solidFill>
              <a:srgbClr val="FFFFFF">
                <a:alpha val="2917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Google Shape;33;p6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34" name="Google Shape;34;p6"/>
          <p:cNvSpPr/>
          <p:nvPr/>
        </p:nvSpPr>
        <p:spPr>
          <a:xfrm>
            <a:off x="-67" y="0"/>
            <a:ext cx="12192000" cy="6858000"/>
          </a:xfrm>
          <a:prstGeom prst="rect">
            <a:avLst/>
          </a:prstGeom>
          <a:solidFill>
            <a:srgbClr val="FFFFFF">
              <a:alpha val="7440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35" name="Google Shape;35;p6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7524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10"/>
          <p:cNvSpPr txBox="1">
            <a:spLocks noGrp="1"/>
          </p:cNvSpPr>
          <p:nvPr>
            <p:ph type="title"/>
          </p:nvPr>
        </p:nvSpPr>
        <p:spPr>
          <a:xfrm>
            <a:off x="960000" y="5334000"/>
            <a:ext cx="10272000" cy="8044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Google Shape;64;p11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-1" y="3"/>
            <a:ext cx="12192004" cy="6857995"/>
          </a:xfrm>
          <a:prstGeom prst="rect">
            <a:avLst/>
          </a:prstGeom>
          <a:noFill/>
          <a:ln>
            <a:noFill/>
          </a:ln>
        </p:spPr>
      </p:pic>
      <p:sp>
        <p:nvSpPr>
          <p:cNvPr id="65" name="Google Shape;65;p1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7440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66" name="Google Shape;66;p11"/>
          <p:cNvSpPr txBox="1">
            <a:spLocks noGrp="1"/>
          </p:cNvSpPr>
          <p:nvPr>
            <p:ph type="title" hasCustomPrompt="1"/>
          </p:nvPr>
        </p:nvSpPr>
        <p:spPr>
          <a:xfrm rot="436">
            <a:off x="2941599" y="1553933"/>
            <a:ext cx="6308800" cy="20148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12800"/>
            </a:lvl1pPr>
            <a:lvl2pPr lvl="1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12800"/>
            </a:lvl2pPr>
            <a:lvl3pPr lvl="2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12800"/>
            </a:lvl3pPr>
            <a:lvl4pPr lvl="3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12800"/>
            </a:lvl4pPr>
            <a:lvl5pPr lvl="4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12800"/>
            </a:lvl5pPr>
            <a:lvl6pPr lvl="5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12800"/>
            </a:lvl6pPr>
            <a:lvl7pPr lvl="6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12800"/>
            </a:lvl7pPr>
            <a:lvl8pPr lvl="7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12800"/>
            </a:lvl8pPr>
            <a:lvl9pPr lvl="8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12800"/>
            </a:lvl9pPr>
          </a:lstStyle>
          <a:p>
            <a:r>
              <a:t>xx%</a:t>
            </a:r>
          </a:p>
        </p:txBody>
      </p:sp>
      <p:sp>
        <p:nvSpPr>
          <p:cNvPr id="67" name="Google Shape;67;p11"/>
          <p:cNvSpPr txBox="1">
            <a:spLocks noGrp="1"/>
          </p:cNvSpPr>
          <p:nvPr>
            <p:ph type="subTitle" idx="1"/>
          </p:nvPr>
        </p:nvSpPr>
        <p:spPr>
          <a:xfrm>
            <a:off x="2941500" y="4438033"/>
            <a:ext cx="6308800" cy="5872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BLANK_1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" name="Google Shape;70;p13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71" name="Google Shape;71;p13"/>
          <p:cNvSpPr/>
          <p:nvPr/>
        </p:nvSpPr>
        <p:spPr>
          <a:xfrm>
            <a:off x="-67" y="0"/>
            <a:ext cx="12192000" cy="6858000"/>
          </a:xfrm>
          <a:prstGeom prst="rect">
            <a:avLst/>
          </a:prstGeom>
          <a:solidFill>
            <a:srgbClr val="FFFFFF">
              <a:alpha val="7440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72" name="Google Shape;72;p13"/>
          <p:cNvSpPr txBox="1">
            <a:spLocks noGrp="1"/>
          </p:cNvSpPr>
          <p:nvPr>
            <p:ph type="title"/>
          </p:nvPr>
        </p:nvSpPr>
        <p:spPr>
          <a:xfrm>
            <a:off x="1864400" y="2080269"/>
            <a:ext cx="3115200" cy="703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73" name="Google Shape;73;p13"/>
          <p:cNvSpPr txBox="1">
            <a:spLocks noGrp="1"/>
          </p:cNvSpPr>
          <p:nvPr>
            <p:ph type="subTitle" idx="1"/>
          </p:nvPr>
        </p:nvSpPr>
        <p:spPr>
          <a:xfrm>
            <a:off x="1864200" y="2782300"/>
            <a:ext cx="3115200" cy="7912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13"/>
          <p:cNvSpPr txBox="1">
            <a:spLocks noGrp="1"/>
          </p:cNvSpPr>
          <p:nvPr>
            <p:ph type="title" idx="2" hasCustomPrompt="1"/>
          </p:nvPr>
        </p:nvSpPr>
        <p:spPr>
          <a:xfrm>
            <a:off x="960200" y="4334167"/>
            <a:ext cx="903600" cy="70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9pPr>
          </a:lstStyle>
          <a:p>
            <a:r>
              <a:t>xx%</a:t>
            </a:r>
          </a:p>
        </p:txBody>
      </p:sp>
      <p:sp>
        <p:nvSpPr>
          <p:cNvPr id="75" name="Google Shape;75;p13"/>
          <p:cNvSpPr txBox="1">
            <a:spLocks noGrp="1"/>
          </p:cNvSpPr>
          <p:nvPr>
            <p:ph type="title" idx="3"/>
          </p:nvPr>
        </p:nvSpPr>
        <p:spPr>
          <a:xfrm>
            <a:off x="1864400" y="4333736"/>
            <a:ext cx="3115200" cy="703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76" name="Google Shape;76;p13"/>
          <p:cNvSpPr txBox="1">
            <a:spLocks noGrp="1"/>
          </p:cNvSpPr>
          <p:nvPr>
            <p:ph type="subTitle" idx="4"/>
          </p:nvPr>
        </p:nvSpPr>
        <p:spPr>
          <a:xfrm>
            <a:off x="1864200" y="5035767"/>
            <a:ext cx="3115200" cy="7912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13"/>
          <p:cNvSpPr txBox="1">
            <a:spLocks noGrp="1"/>
          </p:cNvSpPr>
          <p:nvPr>
            <p:ph type="title" idx="5"/>
          </p:nvPr>
        </p:nvSpPr>
        <p:spPr>
          <a:xfrm>
            <a:off x="7000800" y="4333736"/>
            <a:ext cx="3115200" cy="703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78" name="Google Shape;78;p13"/>
          <p:cNvSpPr txBox="1">
            <a:spLocks noGrp="1"/>
          </p:cNvSpPr>
          <p:nvPr>
            <p:ph type="subTitle" idx="6"/>
          </p:nvPr>
        </p:nvSpPr>
        <p:spPr>
          <a:xfrm>
            <a:off x="7000600" y="5035767"/>
            <a:ext cx="3115200" cy="7912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13"/>
          <p:cNvSpPr txBox="1">
            <a:spLocks noGrp="1"/>
          </p:cNvSpPr>
          <p:nvPr>
            <p:ph type="title" idx="7"/>
          </p:nvPr>
        </p:nvSpPr>
        <p:spPr>
          <a:xfrm>
            <a:off x="7000800" y="2080269"/>
            <a:ext cx="3115200" cy="703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80" name="Google Shape;80;p13"/>
          <p:cNvSpPr txBox="1">
            <a:spLocks noGrp="1"/>
          </p:cNvSpPr>
          <p:nvPr>
            <p:ph type="subTitle" idx="8"/>
          </p:nvPr>
        </p:nvSpPr>
        <p:spPr>
          <a:xfrm>
            <a:off x="7000600" y="2782300"/>
            <a:ext cx="3115200" cy="7912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" name="Google Shape;81;p13"/>
          <p:cNvSpPr txBox="1">
            <a:spLocks noGrp="1"/>
          </p:cNvSpPr>
          <p:nvPr>
            <p:ph type="title" idx="9" hasCustomPrompt="1"/>
          </p:nvPr>
        </p:nvSpPr>
        <p:spPr>
          <a:xfrm rot="1521">
            <a:off x="6096600" y="4332672"/>
            <a:ext cx="904000" cy="7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9pPr>
          </a:lstStyle>
          <a:p>
            <a:r>
              <a:t>xx%</a:t>
            </a:r>
          </a:p>
        </p:txBody>
      </p:sp>
      <p:sp>
        <p:nvSpPr>
          <p:cNvPr id="82" name="Google Shape;82;p13"/>
          <p:cNvSpPr txBox="1">
            <a:spLocks noGrp="1"/>
          </p:cNvSpPr>
          <p:nvPr>
            <p:ph type="title" idx="13" hasCustomPrompt="1"/>
          </p:nvPr>
        </p:nvSpPr>
        <p:spPr>
          <a:xfrm rot="1521">
            <a:off x="960167" y="2080500"/>
            <a:ext cx="904000" cy="7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9pPr>
          </a:lstStyle>
          <a:p>
            <a:r>
              <a:t>xx%</a:t>
            </a:r>
          </a:p>
        </p:txBody>
      </p:sp>
      <p:sp>
        <p:nvSpPr>
          <p:cNvPr id="83" name="Google Shape;83;p13"/>
          <p:cNvSpPr txBox="1">
            <a:spLocks noGrp="1"/>
          </p:cNvSpPr>
          <p:nvPr>
            <p:ph type="title" idx="14" hasCustomPrompt="1"/>
          </p:nvPr>
        </p:nvSpPr>
        <p:spPr>
          <a:xfrm rot="1521">
            <a:off x="6096600" y="2080629"/>
            <a:ext cx="904000" cy="7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9pPr>
          </a:lstStyle>
          <a:p>
            <a:r>
              <a:t>xx%</a:t>
            </a:r>
          </a:p>
        </p:txBody>
      </p:sp>
      <p:sp>
        <p:nvSpPr>
          <p:cNvPr id="84" name="Google Shape;84;p13"/>
          <p:cNvSpPr txBox="1">
            <a:spLocks noGrp="1"/>
          </p:cNvSpPr>
          <p:nvPr>
            <p:ph type="title" idx="15"/>
          </p:nvPr>
        </p:nvSpPr>
        <p:spPr>
          <a:xfrm>
            <a:off x="960000" y="720000"/>
            <a:ext cx="10272000" cy="75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  <p:grpSp>
        <p:nvGrpSpPr>
          <p:cNvPr id="85" name="Google Shape;85;p13"/>
          <p:cNvGrpSpPr/>
          <p:nvPr/>
        </p:nvGrpSpPr>
        <p:grpSpPr>
          <a:xfrm>
            <a:off x="52797" y="4533059"/>
            <a:ext cx="694603" cy="948983"/>
            <a:chOff x="695998" y="3193606"/>
            <a:chExt cx="520952" cy="711737"/>
          </a:xfrm>
        </p:grpSpPr>
        <p:grpSp>
          <p:nvGrpSpPr>
            <p:cNvPr id="86" name="Google Shape;86;p13"/>
            <p:cNvGrpSpPr/>
            <p:nvPr/>
          </p:nvGrpSpPr>
          <p:grpSpPr>
            <a:xfrm>
              <a:off x="695998" y="3193606"/>
              <a:ext cx="520952" cy="711737"/>
              <a:chOff x="7314463" y="437474"/>
              <a:chExt cx="595987" cy="814251"/>
            </a:xfrm>
          </p:grpSpPr>
          <p:sp>
            <p:nvSpPr>
              <p:cNvPr id="87" name="Google Shape;87;p13"/>
              <p:cNvSpPr/>
              <p:nvPr/>
            </p:nvSpPr>
            <p:spPr>
              <a:xfrm>
                <a:off x="7600575" y="932075"/>
                <a:ext cx="309875" cy="319650"/>
              </a:xfrm>
              <a:custGeom>
                <a:avLst/>
                <a:gdLst/>
                <a:ahLst/>
                <a:cxnLst/>
                <a:rect l="l" t="t" r="r" b="b"/>
                <a:pathLst>
                  <a:path w="12395" h="12786" extrusionOk="0">
                    <a:moveTo>
                      <a:pt x="0" y="12786"/>
                    </a:moveTo>
                    <a:lnTo>
                      <a:pt x="12395" y="0"/>
                    </a:lnTo>
                    <a:lnTo>
                      <a:pt x="5173" y="1952"/>
                    </a:lnTo>
                    <a:close/>
                  </a:path>
                </a:pathLst>
              </a:custGeom>
              <a:gradFill>
                <a:gsLst>
                  <a:gs pos="0">
                    <a:srgbClr val="59595B">
                      <a:alpha val="0"/>
                    </a:srgbClr>
                  </a:gs>
                  <a:gs pos="100000">
                    <a:srgbClr val="737373"/>
                  </a:gs>
                </a:gsLst>
                <a:lin ang="8100019" scaled="0"/>
              </a:gradFill>
              <a:ln>
                <a:noFill/>
              </a:ln>
            </p:spPr>
          </p:sp>
          <p:sp>
            <p:nvSpPr>
              <p:cNvPr id="88" name="Google Shape;88;p13"/>
              <p:cNvSpPr/>
              <p:nvPr/>
            </p:nvSpPr>
            <p:spPr>
              <a:xfrm flipH="1">
                <a:off x="7314463" y="437474"/>
                <a:ext cx="552062" cy="812396"/>
              </a:xfrm>
              <a:custGeom>
                <a:avLst/>
                <a:gdLst/>
                <a:ahLst/>
                <a:cxnLst/>
                <a:rect l="l" t="t" r="r" b="b"/>
                <a:pathLst>
                  <a:path w="133027" h="195758" extrusionOk="0">
                    <a:moveTo>
                      <a:pt x="65846" y="26249"/>
                    </a:moveTo>
                    <a:cubicBezTo>
                      <a:pt x="87201" y="26249"/>
                      <a:pt x="104108" y="43156"/>
                      <a:pt x="104108" y="64511"/>
                    </a:cubicBezTo>
                    <a:cubicBezTo>
                      <a:pt x="104108" y="85422"/>
                      <a:pt x="87201" y="102328"/>
                      <a:pt x="65846" y="102328"/>
                    </a:cubicBezTo>
                    <a:cubicBezTo>
                      <a:pt x="44936" y="102328"/>
                      <a:pt x="28029" y="85422"/>
                      <a:pt x="28029" y="64511"/>
                    </a:cubicBezTo>
                    <a:cubicBezTo>
                      <a:pt x="28029" y="43156"/>
                      <a:pt x="44936" y="26249"/>
                      <a:pt x="65846" y="26249"/>
                    </a:cubicBezTo>
                    <a:close/>
                    <a:moveTo>
                      <a:pt x="66291" y="0"/>
                    </a:moveTo>
                    <a:cubicBezTo>
                      <a:pt x="29809" y="0"/>
                      <a:pt x="0" y="29809"/>
                      <a:pt x="0" y="66291"/>
                    </a:cubicBezTo>
                    <a:cubicBezTo>
                      <a:pt x="0" y="84977"/>
                      <a:pt x="18241" y="118345"/>
                      <a:pt x="18241" y="118345"/>
                    </a:cubicBezTo>
                    <a:lnTo>
                      <a:pt x="64066" y="195758"/>
                    </a:lnTo>
                    <a:lnTo>
                      <a:pt x="111671" y="119234"/>
                    </a:lnTo>
                    <a:cubicBezTo>
                      <a:pt x="111671" y="119234"/>
                      <a:pt x="133027" y="87201"/>
                      <a:pt x="133027" y="66291"/>
                    </a:cubicBezTo>
                    <a:cubicBezTo>
                      <a:pt x="133027" y="29809"/>
                      <a:pt x="103218" y="0"/>
                      <a:pt x="66291" y="0"/>
                    </a:cubicBezTo>
                    <a:close/>
                  </a:path>
                </a:pathLst>
              </a:custGeom>
              <a:gradFill>
                <a:gsLst>
                  <a:gs pos="0">
                    <a:srgbClr val="637BE4"/>
                  </a:gs>
                  <a:gs pos="100000">
                    <a:srgbClr val="243BA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  <p:sp>
          <p:nvSpPr>
            <p:cNvPr id="89" name="Google Shape;89;p13"/>
            <p:cNvSpPr/>
            <p:nvPr/>
          </p:nvSpPr>
          <p:spPr>
            <a:xfrm flipH="1">
              <a:off x="696000" y="3194419"/>
              <a:ext cx="482555" cy="710112"/>
            </a:xfrm>
            <a:custGeom>
              <a:avLst/>
              <a:gdLst/>
              <a:ahLst/>
              <a:cxnLst/>
              <a:rect l="l" t="t" r="r" b="b"/>
              <a:pathLst>
                <a:path w="133027" h="195758" extrusionOk="0">
                  <a:moveTo>
                    <a:pt x="65846" y="26249"/>
                  </a:moveTo>
                  <a:cubicBezTo>
                    <a:pt x="87201" y="26249"/>
                    <a:pt x="104108" y="43156"/>
                    <a:pt x="104108" y="64511"/>
                  </a:cubicBezTo>
                  <a:cubicBezTo>
                    <a:pt x="104108" y="85422"/>
                    <a:pt x="87201" y="102328"/>
                    <a:pt x="65846" y="102328"/>
                  </a:cubicBezTo>
                  <a:cubicBezTo>
                    <a:pt x="44936" y="102328"/>
                    <a:pt x="28029" y="85422"/>
                    <a:pt x="28029" y="64511"/>
                  </a:cubicBezTo>
                  <a:cubicBezTo>
                    <a:pt x="28029" y="43156"/>
                    <a:pt x="44936" y="26249"/>
                    <a:pt x="65846" y="26249"/>
                  </a:cubicBezTo>
                  <a:close/>
                  <a:moveTo>
                    <a:pt x="66291" y="0"/>
                  </a:moveTo>
                  <a:cubicBezTo>
                    <a:pt x="29809" y="0"/>
                    <a:pt x="0" y="29809"/>
                    <a:pt x="0" y="66291"/>
                  </a:cubicBezTo>
                  <a:cubicBezTo>
                    <a:pt x="0" y="84977"/>
                    <a:pt x="18241" y="118345"/>
                    <a:pt x="18241" y="118345"/>
                  </a:cubicBezTo>
                  <a:lnTo>
                    <a:pt x="64066" y="195758"/>
                  </a:lnTo>
                  <a:lnTo>
                    <a:pt x="111671" y="119234"/>
                  </a:lnTo>
                  <a:cubicBezTo>
                    <a:pt x="111671" y="119234"/>
                    <a:pt x="133027" y="87201"/>
                    <a:pt x="133027" y="66291"/>
                  </a:cubicBezTo>
                  <a:cubicBezTo>
                    <a:pt x="133027" y="29809"/>
                    <a:pt x="103218" y="0"/>
                    <a:pt x="66291" y="0"/>
                  </a:cubicBezTo>
                  <a:close/>
                </a:path>
              </a:pathLst>
            </a:custGeom>
            <a:solidFill>
              <a:srgbClr val="FFFFFF">
                <a:alpha val="2917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grpSp>
        <p:nvGrpSpPr>
          <p:cNvPr id="90" name="Google Shape;90;p13"/>
          <p:cNvGrpSpPr/>
          <p:nvPr/>
        </p:nvGrpSpPr>
        <p:grpSpPr>
          <a:xfrm rot="18658481">
            <a:off x="10941942" y="1873009"/>
            <a:ext cx="896753" cy="906171"/>
            <a:chOff x="5542118" y="902100"/>
            <a:chExt cx="872785" cy="881950"/>
          </a:xfrm>
        </p:grpSpPr>
        <p:sp>
          <p:nvSpPr>
            <p:cNvPr id="91" name="Google Shape;91;p13"/>
            <p:cNvSpPr/>
            <p:nvPr/>
          </p:nvSpPr>
          <p:spPr>
            <a:xfrm>
              <a:off x="5542118" y="902100"/>
              <a:ext cx="872785" cy="881950"/>
            </a:xfrm>
            <a:custGeom>
              <a:avLst/>
              <a:gdLst/>
              <a:ahLst/>
              <a:cxnLst/>
              <a:rect l="l" t="t" r="r" b="b"/>
              <a:pathLst>
                <a:path w="194168" h="196207" extrusionOk="0">
                  <a:moveTo>
                    <a:pt x="11576" y="0"/>
                  </a:moveTo>
                  <a:cubicBezTo>
                    <a:pt x="8883" y="0"/>
                    <a:pt x="6181" y="987"/>
                    <a:pt x="4103" y="3065"/>
                  </a:cubicBezTo>
                  <a:cubicBezTo>
                    <a:pt x="1026" y="5799"/>
                    <a:pt x="1" y="10243"/>
                    <a:pt x="1368" y="14004"/>
                  </a:cubicBezTo>
                  <a:lnTo>
                    <a:pt x="65293" y="189369"/>
                  </a:lnTo>
                  <a:cubicBezTo>
                    <a:pt x="67002" y="193471"/>
                    <a:pt x="70762" y="196206"/>
                    <a:pt x="74864" y="196206"/>
                  </a:cubicBezTo>
                  <a:cubicBezTo>
                    <a:pt x="79308" y="196206"/>
                    <a:pt x="83410" y="193813"/>
                    <a:pt x="85120" y="190053"/>
                  </a:cubicBezTo>
                  <a:lnTo>
                    <a:pt x="114176" y="124077"/>
                  </a:lnTo>
                  <a:cubicBezTo>
                    <a:pt x="115202" y="121342"/>
                    <a:pt x="117595" y="119291"/>
                    <a:pt x="119988" y="118266"/>
                  </a:cubicBezTo>
                  <a:lnTo>
                    <a:pt x="187331" y="92286"/>
                  </a:lnTo>
                  <a:cubicBezTo>
                    <a:pt x="191433" y="90577"/>
                    <a:pt x="193826" y="86816"/>
                    <a:pt x="193826" y="82714"/>
                  </a:cubicBezTo>
                  <a:cubicBezTo>
                    <a:pt x="194168" y="78270"/>
                    <a:pt x="191433" y="74510"/>
                    <a:pt x="187673" y="72801"/>
                  </a:cubicBezTo>
                  <a:lnTo>
                    <a:pt x="15384" y="672"/>
                  </a:lnTo>
                  <a:cubicBezTo>
                    <a:pt x="14163" y="228"/>
                    <a:pt x="12871" y="0"/>
                    <a:pt x="11576" y="0"/>
                  </a:cubicBezTo>
                  <a:close/>
                </a:path>
              </a:pathLst>
            </a:custGeom>
            <a:gradFill>
              <a:gsLst>
                <a:gs pos="0">
                  <a:srgbClr val="FF2F2F">
                    <a:alpha val="64709"/>
                  </a:srgbClr>
                </a:gs>
                <a:gs pos="100000">
                  <a:srgbClr val="A50707">
                    <a:alpha val="64709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42863" dist="57150" algn="bl" rotWithShape="0">
                <a:srgbClr val="000000">
                  <a:alpha val="23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92" name="Google Shape;92;p13"/>
            <p:cNvSpPr/>
            <p:nvPr/>
          </p:nvSpPr>
          <p:spPr>
            <a:xfrm>
              <a:off x="5542118" y="902100"/>
              <a:ext cx="872785" cy="881950"/>
            </a:xfrm>
            <a:custGeom>
              <a:avLst/>
              <a:gdLst/>
              <a:ahLst/>
              <a:cxnLst/>
              <a:rect l="l" t="t" r="r" b="b"/>
              <a:pathLst>
                <a:path w="194168" h="196207" extrusionOk="0">
                  <a:moveTo>
                    <a:pt x="11576" y="0"/>
                  </a:moveTo>
                  <a:cubicBezTo>
                    <a:pt x="8883" y="0"/>
                    <a:pt x="6181" y="987"/>
                    <a:pt x="4103" y="3065"/>
                  </a:cubicBezTo>
                  <a:cubicBezTo>
                    <a:pt x="1026" y="5799"/>
                    <a:pt x="1" y="10243"/>
                    <a:pt x="1368" y="14004"/>
                  </a:cubicBezTo>
                  <a:lnTo>
                    <a:pt x="65293" y="189369"/>
                  </a:lnTo>
                  <a:cubicBezTo>
                    <a:pt x="67002" y="193471"/>
                    <a:pt x="70762" y="196206"/>
                    <a:pt x="74864" y="196206"/>
                  </a:cubicBezTo>
                  <a:cubicBezTo>
                    <a:pt x="79308" y="196206"/>
                    <a:pt x="83410" y="193813"/>
                    <a:pt x="85120" y="190053"/>
                  </a:cubicBezTo>
                  <a:lnTo>
                    <a:pt x="114176" y="124077"/>
                  </a:lnTo>
                  <a:cubicBezTo>
                    <a:pt x="115202" y="121342"/>
                    <a:pt x="117595" y="119291"/>
                    <a:pt x="119988" y="118266"/>
                  </a:cubicBezTo>
                  <a:lnTo>
                    <a:pt x="187331" y="92286"/>
                  </a:lnTo>
                  <a:cubicBezTo>
                    <a:pt x="191433" y="90577"/>
                    <a:pt x="193826" y="86816"/>
                    <a:pt x="193826" y="82714"/>
                  </a:cubicBezTo>
                  <a:cubicBezTo>
                    <a:pt x="194168" y="78270"/>
                    <a:pt x="191433" y="74510"/>
                    <a:pt x="187673" y="72801"/>
                  </a:cubicBezTo>
                  <a:lnTo>
                    <a:pt x="15384" y="672"/>
                  </a:lnTo>
                  <a:cubicBezTo>
                    <a:pt x="14163" y="228"/>
                    <a:pt x="12871" y="0"/>
                    <a:pt x="11576" y="0"/>
                  </a:cubicBezTo>
                  <a:close/>
                </a:path>
              </a:pathLst>
            </a:custGeom>
            <a:solidFill>
              <a:srgbClr val="FFFFFF">
                <a:alpha val="2917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1199215"/>
      </p:ext>
    </p:extLst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>
  <p:cSld name="MAIN_POINT_1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4" name="Google Shape;94;p14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" y="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95" name="Google Shape;95;p14"/>
          <p:cNvSpPr/>
          <p:nvPr/>
        </p:nvSpPr>
        <p:spPr>
          <a:xfrm>
            <a:off x="-67" y="0"/>
            <a:ext cx="12192000" cy="6858000"/>
          </a:xfrm>
          <a:prstGeom prst="rect">
            <a:avLst/>
          </a:prstGeom>
          <a:solidFill>
            <a:srgbClr val="FFFFFF">
              <a:alpha val="7440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96" name="Google Shape;96;p14"/>
          <p:cNvSpPr txBox="1">
            <a:spLocks noGrp="1"/>
          </p:cNvSpPr>
          <p:nvPr>
            <p:ph type="subTitle" idx="1"/>
          </p:nvPr>
        </p:nvSpPr>
        <p:spPr>
          <a:xfrm rot="220">
            <a:off x="2968133" y="5095484"/>
            <a:ext cx="6255600" cy="8744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" name="Google Shape;97;p14"/>
          <p:cNvSpPr txBox="1">
            <a:spLocks noGrp="1"/>
          </p:cNvSpPr>
          <p:nvPr>
            <p:ph type="title"/>
          </p:nvPr>
        </p:nvSpPr>
        <p:spPr>
          <a:xfrm>
            <a:off x="2968133" y="4146484"/>
            <a:ext cx="6255600" cy="94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grpSp>
        <p:nvGrpSpPr>
          <p:cNvPr id="98" name="Google Shape;98;p14"/>
          <p:cNvGrpSpPr/>
          <p:nvPr/>
        </p:nvGrpSpPr>
        <p:grpSpPr>
          <a:xfrm>
            <a:off x="52797" y="4533059"/>
            <a:ext cx="694603" cy="948983"/>
            <a:chOff x="695998" y="3193606"/>
            <a:chExt cx="520952" cy="711737"/>
          </a:xfrm>
        </p:grpSpPr>
        <p:grpSp>
          <p:nvGrpSpPr>
            <p:cNvPr id="99" name="Google Shape;99;p14"/>
            <p:cNvGrpSpPr/>
            <p:nvPr/>
          </p:nvGrpSpPr>
          <p:grpSpPr>
            <a:xfrm>
              <a:off x="695998" y="3193606"/>
              <a:ext cx="520952" cy="711737"/>
              <a:chOff x="7314463" y="437474"/>
              <a:chExt cx="595987" cy="814251"/>
            </a:xfrm>
          </p:grpSpPr>
          <p:sp>
            <p:nvSpPr>
              <p:cNvPr id="100" name="Google Shape;100;p14"/>
              <p:cNvSpPr/>
              <p:nvPr/>
            </p:nvSpPr>
            <p:spPr>
              <a:xfrm>
                <a:off x="7600575" y="932075"/>
                <a:ext cx="309875" cy="319650"/>
              </a:xfrm>
              <a:custGeom>
                <a:avLst/>
                <a:gdLst/>
                <a:ahLst/>
                <a:cxnLst/>
                <a:rect l="l" t="t" r="r" b="b"/>
                <a:pathLst>
                  <a:path w="12395" h="12786" extrusionOk="0">
                    <a:moveTo>
                      <a:pt x="0" y="12786"/>
                    </a:moveTo>
                    <a:lnTo>
                      <a:pt x="12395" y="0"/>
                    </a:lnTo>
                    <a:lnTo>
                      <a:pt x="5173" y="1952"/>
                    </a:lnTo>
                    <a:close/>
                  </a:path>
                </a:pathLst>
              </a:custGeom>
              <a:gradFill>
                <a:gsLst>
                  <a:gs pos="0">
                    <a:srgbClr val="59595B">
                      <a:alpha val="0"/>
                    </a:srgbClr>
                  </a:gs>
                  <a:gs pos="100000">
                    <a:srgbClr val="737373"/>
                  </a:gs>
                </a:gsLst>
                <a:lin ang="8100019" scaled="0"/>
              </a:gradFill>
              <a:ln>
                <a:noFill/>
              </a:ln>
            </p:spPr>
          </p:sp>
          <p:sp>
            <p:nvSpPr>
              <p:cNvPr id="101" name="Google Shape;101;p14"/>
              <p:cNvSpPr/>
              <p:nvPr/>
            </p:nvSpPr>
            <p:spPr>
              <a:xfrm flipH="1">
                <a:off x="7314463" y="437474"/>
                <a:ext cx="552062" cy="812396"/>
              </a:xfrm>
              <a:custGeom>
                <a:avLst/>
                <a:gdLst/>
                <a:ahLst/>
                <a:cxnLst/>
                <a:rect l="l" t="t" r="r" b="b"/>
                <a:pathLst>
                  <a:path w="133027" h="195758" extrusionOk="0">
                    <a:moveTo>
                      <a:pt x="65846" y="26249"/>
                    </a:moveTo>
                    <a:cubicBezTo>
                      <a:pt x="87201" y="26249"/>
                      <a:pt x="104108" y="43156"/>
                      <a:pt x="104108" y="64511"/>
                    </a:cubicBezTo>
                    <a:cubicBezTo>
                      <a:pt x="104108" y="85422"/>
                      <a:pt x="87201" y="102328"/>
                      <a:pt x="65846" y="102328"/>
                    </a:cubicBezTo>
                    <a:cubicBezTo>
                      <a:pt x="44936" y="102328"/>
                      <a:pt x="28029" y="85422"/>
                      <a:pt x="28029" y="64511"/>
                    </a:cubicBezTo>
                    <a:cubicBezTo>
                      <a:pt x="28029" y="43156"/>
                      <a:pt x="44936" y="26249"/>
                      <a:pt x="65846" y="26249"/>
                    </a:cubicBezTo>
                    <a:close/>
                    <a:moveTo>
                      <a:pt x="66291" y="0"/>
                    </a:moveTo>
                    <a:cubicBezTo>
                      <a:pt x="29809" y="0"/>
                      <a:pt x="0" y="29809"/>
                      <a:pt x="0" y="66291"/>
                    </a:cubicBezTo>
                    <a:cubicBezTo>
                      <a:pt x="0" y="84977"/>
                      <a:pt x="18241" y="118345"/>
                      <a:pt x="18241" y="118345"/>
                    </a:cubicBezTo>
                    <a:lnTo>
                      <a:pt x="64066" y="195758"/>
                    </a:lnTo>
                    <a:lnTo>
                      <a:pt x="111671" y="119234"/>
                    </a:lnTo>
                    <a:cubicBezTo>
                      <a:pt x="111671" y="119234"/>
                      <a:pt x="133027" y="87201"/>
                      <a:pt x="133027" y="66291"/>
                    </a:cubicBezTo>
                    <a:cubicBezTo>
                      <a:pt x="133027" y="29809"/>
                      <a:pt x="103218" y="0"/>
                      <a:pt x="66291" y="0"/>
                    </a:cubicBezTo>
                    <a:close/>
                  </a:path>
                </a:pathLst>
              </a:custGeom>
              <a:gradFill>
                <a:gsLst>
                  <a:gs pos="0">
                    <a:srgbClr val="637BE4"/>
                  </a:gs>
                  <a:gs pos="100000">
                    <a:srgbClr val="243BA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  <p:sp>
          <p:nvSpPr>
            <p:cNvPr id="102" name="Google Shape;102;p14"/>
            <p:cNvSpPr/>
            <p:nvPr/>
          </p:nvSpPr>
          <p:spPr>
            <a:xfrm flipH="1">
              <a:off x="696000" y="3194419"/>
              <a:ext cx="482555" cy="710112"/>
            </a:xfrm>
            <a:custGeom>
              <a:avLst/>
              <a:gdLst/>
              <a:ahLst/>
              <a:cxnLst/>
              <a:rect l="l" t="t" r="r" b="b"/>
              <a:pathLst>
                <a:path w="133027" h="195758" extrusionOk="0">
                  <a:moveTo>
                    <a:pt x="65846" y="26249"/>
                  </a:moveTo>
                  <a:cubicBezTo>
                    <a:pt x="87201" y="26249"/>
                    <a:pt x="104108" y="43156"/>
                    <a:pt x="104108" y="64511"/>
                  </a:cubicBezTo>
                  <a:cubicBezTo>
                    <a:pt x="104108" y="85422"/>
                    <a:pt x="87201" y="102328"/>
                    <a:pt x="65846" y="102328"/>
                  </a:cubicBezTo>
                  <a:cubicBezTo>
                    <a:pt x="44936" y="102328"/>
                    <a:pt x="28029" y="85422"/>
                    <a:pt x="28029" y="64511"/>
                  </a:cubicBezTo>
                  <a:cubicBezTo>
                    <a:pt x="28029" y="43156"/>
                    <a:pt x="44936" y="26249"/>
                    <a:pt x="65846" y="26249"/>
                  </a:cubicBezTo>
                  <a:close/>
                  <a:moveTo>
                    <a:pt x="66291" y="0"/>
                  </a:moveTo>
                  <a:cubicBezTo>
                    <a:pt x="29809" y="0"/>
                    <a:pt x="0" y="29809"/>
                    <a:pt x="0" y="66291"/>
                  </a:cubicBezTo>
                  <a:cubicBezTo>
                    <a:pt x="0" y="84977"/>
                    <a:pt x="18241" y="118345"/>
                    <a:pt x="18241" y="118345"/>
                  </a:cubicBezTo>
                  <a:lnTo>
                    <a:pt x="64066" y="195758"/>
                  </a:lnTo>
                  <a:lnTo>
                    <a:pt x="111671" y="119234"/>
                  </a:lnTo>
                  <a:cubicBezTo>
                    <a:pt x="111671" y="119234"/>
                    <a:pt x="133027" y="87201"/>
                    <a:pt x="133027" y="66291"/>
                  </a:cubicBezTo>
                  <a:cubicBezTo>
                    <a:pt x="133027" y="29809"/>
                    <a:pt x="103218" y="0"/>
                    <a:pt x="66291" y="0"/>
                  </a:cubicBezTo>
                  <a:close/>
                </a:path>
              </a:pathLst>
            </a:custGeom>
            <a:solidFill>
              <a:srgbClr val="FFFFFF">
                <a:alpha val="2917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1">
  <p:cSld name="TITLE_AND_BODY_1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4" name="Google Shape;104;p15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05" name="Google Shape;105;p15"/>
          <p:cNvSpPr/>
          <p:nvPr/>
        </p:nvSpPr>
        <p:spPr>
          <a:xfrm>
            <a:off x="-67" y="0"/>
            <a:ext cx="12192000" cy="6858000"/>
          </a:xfrm>
          <a:prstGeom prst="rect">
            <a:avLst/>
          </a:prstGeom>
          <a:solidFill>
            <a:srgbClr val="FFFFFF">
              <a:alpha val="7440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06" name="Google Shape;106;p15"/>
          <p:cNvSpPr txBox="1">
            <a:spLocks noGrp="1"/>
          </p:cNvSpPr>
          <p:nvPr>
            <p:ph type="title"/>
          </p:nvPr>
        </p:nvSpPr>
        <p:spPr>
          <a:xfrm>
            <a:off x="960000" y="1910484"/>
            <a:ext cx="10272000" cy="75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15"/>
          <p:cNvSpPr txBox="1">
            <a:spLocks noGrp="1"/>
          </p:cNvSpPr>
          <p:nvPr>
            <p:ph type="body" idx="1"/>
          </p:nvPr>
        </p:nvSpPr>
        <p:spPr>
          <a:xfrm>
            <a:off x="960000" y="2839923"/>
            <a:ext cx="10272000" cy="2107600"/>
          </a:xfrm>
          <a:prstGeom prst="rect">
            <a:avLst/>
          </a:prstGeom>
          <a:solidFill>
            <a:srgbClr val="FFFFFF">
              <a:alpha val="7440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400"/>
              <a:buChar char="●"/>
              <a:defRPr sz="1600">
                <a:solidFill>
                  <a:srgbClr val="434343"/>
                </a:solidFill>
              </a:defRPr>
            </a:lvl1pPr>
            <a:lvl2pPr marL="1219170" lvl="1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Char char="○"/>
              <a:defRPr>
                <a:solidFill>
                  <a:srgbClr val="434343"/>
                </a:solidFill>
              </a:defRPr>
            </a:lvl2pPr>
            <a:lvl3pPr marL="1828754" lvl="2" indent="-423323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400"/>
              <a:buChar char="■"/>
              <a:defRPr>
                <a:solidFill>
                  <a:srgbClr val="434343"/>
                </a:solidFill>
              </a:defRPr>
            </a:lvl3pPr>
            <a:lvl4pPr marL="2438339" lvl="3" indent="-423323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400"/>
              <a:buChar char="●"/>
              <a:defRPr>
                <a:solidFill>
                  <a:srgbClr val="434343"/>
                </a:solidFill>
              </a:defRPr>
            </a:lvl4pPr>
            <a:lvl5pPr marL="3047924" lvl="4" indent="-423323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400"/>
              <a:buChar char="○"/>
              <a:defRPr>
                <a:solidFill>
                  <a:srgbClr val="434343"/>
                </a:solidFill>
              </a:defRPr>
            </a:lvl5pPr>
            <a:lvl6pPr marL="3657509" lvl="5" indent="-423323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400"/>
              <a:buChar char="■"/>
              <a:defRPr>
                <a:solidFill>
                  <a:srgbClr val="434343"/>
                </a:solidFill>
              </a:defRPr>
            </a:lvl6pPr>
            <a:lvl7pPr marL="4267093" lvl="6" indent="-423323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400"/>
              <a:buChar char="●"/>
              <a:defRPr>
                <a:solidFill>
                  <a:srgbClr val="434343"/>
                </a:solidFill>
              </a:defRPr>
            </a:lvl7pPr>
            <a:lvl8pPr marL="4876678" lvl="7" indent="-423323" rtl="0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400"/>
              <a:buChar char="○"/>
              <a:defRPr>
                <a:solidFill>
                  <a:srgbClr val="434343"/>
                </a:solidFill>
              </a:defRPr>
            </a:lvl8pPr>
            <a:lvl9pPr marL="5486263" lvl="8" indent="-423323" rtl="0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Clr>
                <a:srgbClr val="434343"/>
              </a:buClr>
              <a:buSzPts val="1400"/>
              <a:buChar char="■"/>
              <a:defRPr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BLANK_1_1_1_2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" name="Google Shape;109;p16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" y="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10" name="Google Shape;110;p16"/>
          <p:cNvSpPr/>
          <p:nvPr/>
        </p:nvSpPr>
        <p:spPr>
          <a:xfrm>
            <a:off x="-7" y="1"/>
            <a:ext cx="12192000" cy="6858000"/>
          </a:xfrm>
          <a:prstGeom prst="rect">
            <a:avLst/>
          </a:prstGeom>
          <a:solidFill>
            <a:srgbClr val="FFFFFF">
              <a:alpha val="7440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11" name="Google Shape;111;p16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75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  <p:sp>
        <p:nvSpPr>
          <p:cNvPr id="112" name="Google Shape;112;p16"/>
          <p:cNvSpPr txBox="1">
            <a:spLocks noGrp="1"/>
          </p:cNvSpPr>
          <p:nvPr>
            <p:ph type="title" idx="2"/>
          </p:nvPr>
        </p:nvSpPr>
        <p:spPr>
          <a:xfrm>
            <a:off x="2813984" y="2285039"/>
            <a:ext cx="3115200" cy="803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113" name="Google Shape;113;p16"/>
          <p:cNvSpPr txBox="1">
            <a:spLocks noGrp="1"/>
          </p:cNvSpPr>
          <p:nvPr>
            <p:ph type="subTitle" idx="1"/>
          </p:nvPr>
        </p:nvSpPr>
        <p:spPr>
          <a:xfrm>
            <a:off x="5929184" y="2285033"/>
            <a:ext cx="4550400" cy="803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" name="Google Shape;114;p16"/>
          <p:cNvSpPr txBox="1">
            <a:spLocks noGrp="1"/>
          </p:cNvSpPr>
          <p:nvPr>
            <p:ph type="title" idx="3"/>
          </p:nvPr>
        </p:nvSpPr>
        <p:spPr>
          <a:xfrm>
            <a:off x="2813984" y="3534300"/>
            <a:ext cx="3115200" cy="803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115" name="Google Shape;115;p16"/>
          <p:cNvSpPr txBox="1">
            <a:spLocks noGrp="1"/>
          </p:cNvSpPr>
          <p:nvPr>
            <p:ph type="subTitle" idx="4"/>
          </p:nvPr>
        </p:nvSpPr>
        <p:spPr>
          <a:xfrm>
            <a:off x="5929184" y="3534300"/>
            <a:ext cx="4550400" cy="803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" name="Google Shape;116;p16"/>
          <p:cNvSpPr txBox="1">
            <a:spLocks noGrp="1"/>
          </p:cNvSpPr>
          <p:nvPr>
            <p:ph type="title" idx="5"/>
          </p:nvPr>
        </p:nvSpPr>
        <p:spPr>
          <a:xfrm>
            <a:off x="2813984" y="4783584"/>
            <a:ext cx="3115200" cy="803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117" name="Google Shape;117;p16"/>
          <p:cNvSpPr txBox="1">
            <a:spLocks noGrp="1"/>
          </p:cNvSpPr>
          <p:nvPr>
            <p:ph type="subTitle" idx="6"/>
          </p:nvPr>
        </p:nvSpPr>
        <p:spPr>
          <a:xfrm>
            <a:off x="5929184" y="4783584"/>
            <a:ext cx="4550400" cy="803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" name="Google Shape;118;p16"/>
          <p:cNvGrpSpPr/>
          <p:nvPr/>
        </p:nvGrpSpPr>
        <p:grpSpPr>
          <a:xfrm>
            <a:off x="445063" y="3461628"/>
            <a:ext cx="796709" cy="1088577"/>
            <a:chOff x="7314698" y="540006"/>
            <a:chExt cx="520952" cy="711737"/>
          </a:xfrm>
        </p:grpSpPr>
        <p:grpSp>
          <p:nvGrpSpPr>
            <p:cNvPr id="119" name="Google Shape;119;p16"/>
            <p:cNvGrpSpPr/>
            <p:nvPr/>
          </p:nvGrpSpPr>
          <p:grpSpPr>
            <a:xfrm>
              <a:off x="7314698" y="540006"/>
              <a:ext cx="520952" cy="711737"/>
              <a:chOff x="7314463" y="437474"/>
              <a:chExt cx="595987" cy="814251"/>
            </a:xfrm>
          </p:grpSpPr>
          <p:sp>
            <p:nvSpPr>
              <p:cNvPr id="120" name="Google Shape;120;p16"/>
              <p:cNvSpPr/>
              <p:nvPr/>
            </p:nvSpPr>
            <p:spPr>
              <a:xfrm>
                <a:off x="7600575" y="932075"/>
                <a:ext cx="309875" cy="319650"/>
              </a:xfrm>
              <a:custGeom>
                <a:avLst/>
                <a:gdLst/>
                <a:ahLst/>
                <a:cxnLst/>
                <a:rect l="l" t="t" r="r" b="b"/>
                <a:pathLst>
                  <a:path w="12395" h="12786" extrusionOk="0">
                    <a:moveTo>
                      <a:pt x="0" y="12786"/>
                    </a:moveTo>
                    <a:lnTo>
                      <a:pt x="12395" y="0"/>
                    </a:lnTo>
                    <a:lnTo>
                      <a:pt x="5173" y="1952"/>
                    </a:lnTo>
                    <a:close/>
                  </a:path>
                </a:pathLst>
              </a:custGeom>
              <a:gradFill>
                <a:gsLst>
                  <a:gs pos="0">
                    <a:srgbClr val="59595B">
                      <a:alpha val="0"/>
                    </a:srgbClr>
                  </a:gs>
                  <a:gs pos="100000">
                    <a:srgbClr val="737373"/>
                  </a:gs>
                </a:gsLst>
                <a:lin ang="8100019" scaled="0"/>
              </a:gradFill>
              <a:ln>
                <a:noFill/>
              </a:ln>
            </p:spPr>
          </p:sp>
          <p:sp>
            <p:nvSpPr>
              <p:cNvPr id="121" name="Google Shape;121;p16"/>
              <p:cNvSpPr/>
              <p:nvPr/>
            </p:nvSpPr>
            <p:spPr>
              <a:xfrm flipH="1">
                <a:off x="7314463" y="437474"/>
                <a:ext cx="552062" cy="812396"/>
              </a:xfrm>
              <a:custGeom>
                <a:avLst/>
                <a:gdLst/>
                <a:ahLst/>
                <a:cxnLst/>
                <a:rect l="l" t="t" r="r" b="b"/>
                <a:pathLst>
                  <a:path w="133027" h="195758" extrusionOk="0">
                    <a:moveTo>
                      <a:pt x="65846" y="26249"/>
                    </a:moveTo>
                    <a:cubicBezTo>
                      <a:pt x="87201" y="26249"/>
                      <a:pt x="104108" y="43156"/>
                      <a:pt x="104108" y="64511"/>
                    </a:cubicBezTo>
                    <a:cubicBezTo>
                      <a:pt x="104108" y="85422"/>
                      <a:pt x="87201" y="102328"/>
                      <a:pt x="65846" y="102328"/>
                    </a:cubicBezTo>
                    <a:cubicBezTo>
                      <a:pt x="44936" y="102328"/>
                      <a:pt x="28029" y="85422"/>
                      <a:pt x="28029" y="64511"/>
                    </a:cubicBezTo>
                    <a:cubicBezTo>
                      <a:pt x="28029" y="43156"/>
                      <a:pt x="44936" y="26249"/>
                      <a:pt x="65846" y="26249"/>
                    </a:cubicBezTo>
                    <a:close/>
                    <a:moveTo>
                      <a:pt x="66291" y="0"/>
                    </a:moveTo>
                    <a:cubicBezTo>
                      <a:pt x="29809" y="0"/>
                      <a:pt x="0" y="29809"/>
                      <a:pt x="0" y="66291"/>
                    </a:cubicBezTo>
                    <a:cubicBezTo>
                      <a:pt x="0" y="84977"/>
                      <a:pt x="18241" y="118345"/>
                      <a:pt x="18241" y="118345"/>
                    </a:cubicBezTo>
                    <a:lnTo>
                      <a:pt x="64066" y="195758"/>
                    </a:lnTo>
                    <a:lnTo>
                      <a:pt x="111671" y="119234"/>
                    </a:lnTo>
                    <a:cubicBezTo>
                      <a:pt x="111671" y="119234"/>
                      <a:pt x="133027" y="87201"/>
                      <a:pt x="133027" y="66291"/>
                    </a:cubicBezTo>
                    <a:cubicBezTo>
                      <a:pt x="133027" y="29809"/>
                      <a:pt x="103218" y="0"/>
                      <a:pt x="66291" y="0"/>
                    </a:cubicBezTo>
                    <a:close/>
                  </a:path>
                </a:pathLst>
              </a:custGeom>
              <a:gradFill>
                <a:gsLst>
                  <a:gs pos="0">
                    <a:srgbClr val="FF2F2F"/>
                  </a:gs>
                  <a:gs pos="100000">
                    <a:srgbClr val="A50707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  <p:sp>
          <p:nvSpPr>
            <p:cNvPr id="122" name="Google Shape;122;p16"/>
            <p:cNvSpPr/>
            <p:nvPr/>
          </p:nvSpPr>
          <p:spPr>
            <a:xfrm flipH="1">
              <a:off x="7314700" y="540819"/>
              <a:ext cx="482555" cy="710112"/>
            </a:xfrm>
            <a:custGeom>
              <a:avLst/>
              <a:gdLst/>
              <a:ahLst/>
              <a:cxnLst/>
              <a:rect l="l" t="t" r="r" b="b"/>
              <a:pathLst>
                <a:path w="133027" h="195758" extrusionOk="0">
                  <a:moveTo>
                    <a:pt x="65846" y="26249"/>
                  </a:moveTo>
                  <a:cubicBezTo>
                    <a:pt x="87201" y="26249"/>
                    <a:pt x="104108" y="43156"/>
                    <a:pt x="104108" y="64511"/>
                  </a:cubicBezTo>
                  <a:cubicBezTo>
                    <a:pt x="104108" y="85422"/>
                    <a:pt x="87201" y="102328"/>
                    <a:pt x="65846" y="102328"/>
                  </a:cubicBezTo>
                  <a:cubicBezTo>
                    <a:pt x="44936" y="102328"/>
                    <a:pt x="28029" y="85422"/>
                    <a:pt x="28029" y="64511"/>
                  </a:cubicBezTo>
                  <a:cubicBezTo>
                    <a:pt x="28029" y="43156"/>
                    <a:pt x="44936" y="26249"/>
                    <a:pt x="65846" y="26249"/>
                  </a:cubicBezTo>
                  <a:close/>
                  <a:moveTo>
                    <a:pt x="66291" y="0"/>
                  </a:moveTo>
                  <a:cubicBezTo>
                    <a:pt x="29809" y="0"/>
                    <a:pt x="0" y="29809"/>
                    <a:pt x="0" y="66291"/>
                  </a:cubicBezTo>
                  <a:cubicBezTo>
                    <a:pt x="0" y="84977"/>
                    <a:pt x="18241" y="118345"/>
                    <a:pt x="18241" y="118345"/>
                  </a:cubicBezTo>
                  <a:lnTo>
                    <a:pt x="64066" y="195758"/>
                  </a:lnTo>
                  <a:lnTo>
                    <a:pt x="111671" y="119234"/>
                  </a:lnTo>
                  <a:cubicBezTo>
                    <a:pt x="111671" y="119234"/>
                    <a:pt x="133027" y="87201"/>
                    <a:pt x="133027" y="66291"/>
                  </a:cubicBezTo>
                  <a:cubicBezTo>
                    <a:pt x="133027" y="29809"/>
                    <a:pt x="103218" y="0"/>
                    <a:pt x="66291" y="0"/>
                  </a:cubicBezTo>
                  <a:close/>
                </a:path>
              </a:pathLst>
            </a:custGeom>
            <a:solidFill>
              <a:srgbClr val="FFFFFF">
                <a:alpha val="2917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">
  <p:cSld name="BLANK_1_1_1_1_1"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4" name="Google Shape;124;p17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1" y="0"/>
            <a:ext cx="12192004" cy="6857995"/>
          </a:xfrm>
          <a:prstGeom prst="rect">
            <a:avLst/>
          </a:prstGeom>
          <a:noFill/>
          <a:ln>
            <a:noFill/>
          </a:ln>
        </p:spPr>
      </p:pic>
      <p:sp>
        <p:nvSpPr>
          <p:cNvPr id="125" name="Google Shape;125;p17"/>
          <p:cNvSpPr/>
          <p:nvPr/>
        </p:nvSpPr>
        <p:spPr>
          <a:xfrm>
            <a:off x="-67" y="0"/>
            <a:ext cx="12192000" cy="6858000"/>
          </a:xfrm>
          <a:prstGeom prst="rect">
            <a:avLst/>
          </a:prstGeom>
          <a:solidFill>
            <a:srgbClr val="FFFFFF">
              <a:alpha val="7440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26" name="Google Shape;126;p17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75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  <p:sp>
        <p:nvSpPr>
          <p:cNvPr id="127" name="Google Shape;127;p17"/>
          <p:cNvSpPr txBox="1">
            <a:spLocks noGrp="1"/>
          </p:cNvSpPr>
          <p:nvPr>
            <p:ph type="title" idx="2"/>
          </p:nvPr>
        </p:nvSpPr>
        <p:spPr>
          <a:xfrm>
            <a:off x="960000" y="2087600"/>
            <a:ext cx="3074000" cy="703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128" name="Google Shape;128;p17"/>
          <p:cNvSpPr txBox="1">
            <a:spLocks noGrp="1"/>
          </p:cNvSpPr>
          <p:nvPr>
            <p:ph type="subTitle" idx="1"/>
          </p:nvPr>
        </p:nvSpPr>
        <p:spPr>
          <a:xfrm>
            <a:off x="960000" y="2791200"/>
            <a:ext cx="3074000" cy="8292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" name="Google Shape;129;p17"/>
          <p:cNvSpPr txBox="1">
            <a:spLocks noGrp="1"/>
          </p:cNvSpPr>
          <p:nvPr>
            <p:ph type="title" idx="3"/>
          </p:nvPr>
        </p:nvSpPr>
        <p:spPr>
          <a:xfrm>
            <a:off x="4559025" y="2087600"/>
            <a:ext cx="3074000" cy="703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130" name="Google Shape;130;p17"/>
          <p:cNvSpPr txBox="1">
            <a:spLocks noGrp="1"/>
          </p:cNvSpPr>
          <p:nvPr>
            <p:ph type="subTitle" idx="4"/>
          </p:nvPr>
        </p:nvSpPr>
        <p:spPr>
          <a:xfrm>
            <a:off x="4559029" y="2791200"/>
            <a:ext cx="3074000" cy="8292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" name="Google Shape;131;p17"/>
          <p:cNvSpPr txBox="1">
            <a:spLocks noGrp="1"/>
          </p:cNvSpPr>
          <p:nvPr>
            <p:ph type="title" idx="5"/>
          </p:nvPr>
        </p:nvSpPr>
        <p:spPr>
          <a:xfrm>
            <a:off x="960000" y="4390967"/>
            <a:ext cx="3074000" cy="703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132" name="Google Shape;132;p17"/>
          <p:cNvSpPr txBox="1">
            <a:spLocks noGrp="1"/>
          </p:cNvSpPr>
          <p:nvPr>
            <p:ph type="subTitle" idx="6"/>
          </p:nvPr>
        </p:nvSpPr>
        <p:spPr>
          <a:xfrm>
            <a:off x="960000" y="5094567"/>
            <a:ext cx="3074000" cy="8292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" name="Google Shape;133;p17"/>
          <p:cNvSpPr txBox="1">
            <a:spLocks noGrp="1"/>
          </p:cNvSpPr>
          <p:nvPr>
            <p:ph type="title" idx="7"/>
          </p:nvPr>
        </p:nvSpPr>
        <p:spPr>
          <a:xfrm>
            <a:off x="4559025" y="4390967"/>
            <a:ext cx="3074000" cy="703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134" name="Google Shape;134;p17"/>
          <p:cNvSpPr txBox="1">
            <a:spLocks noGrp="1"/>
          </p:cNvSpPr>
          <p:nvPr>
            <p:ph type="subTitle" idx="8"/>
          </p:nvPr>
        </p:nvSpPr>
        <p:spPr>
          <a:xfrm>
            <a:off x="4559028" y="5094567"/>
            <a:ext cx="3074000" cy="8292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" name="Google Shape;135;p17"/>
          <p:cNvSpPr txBox="1">
            <a:spLocks noGrp="1"/>
          </p:cNvSpPr>
          <p:nvPr>
            <p:ph type="title" idx="9"/>
          </p:nvPr>
        </p:nvSpPr>
        <p:spPr>
          <a:xfrm>
            <a:off x="8158060" y="2087600"/>
            <a:ext cx="3074000" cy="703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136" name="Google Shape;136;p17"/>
          <p:cNvSpPr txBox="1">
            <a:spLocks noGrp="1"/>
          </p:cNvSpPr>
          <p:nvPr>
            <p:ph type="subTitle" idx="13"/>
          </p:nvPr>
        </p:nvSpPr>
        <p:spPr>
          <a:xfrm>
            <a:off x="8158067" y="2791200"/>
            <a:ext cx="3074000" cy="8292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" name="Google Shape;137;p17"/>
          <p:cNvSpPr txBox="1">
            <a:spLocks noGrp="1"/>
          </p:cNvSpPr>
          <p:nvPr>
            <p:ph type="title" idx="14"/>
          </p:nvPr>
        </p:nvSpPr>
        <p:spPr>
          <a:xfrm>
            <a:off x="8158060" y="4390967"/>
            <a:ext cx="3074000" cy="703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138" name="Google Shape;138;p17"/>
          <p:cNvSpPr txBox="1">
            <a:spLocks noGrp="1"/>
          </p:cNvSpPr>
          <p:nvPr>
            <p:ph type="subTitle" idx="15"/>
          </p:nvPr>
        </p:nvSpPr>
        <p:spPr>
          <a:xfrm>
            <a:off x="8158067" y="5094567"/>
            <a:ext cx="3074000" cy="8292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9" name="Google Shape;139;p17"/>
          <p:cNvGrpSpPr/>
          <p:nvPr/>
        </p:nvGrpSpPr>
        <p:grpSpPr>
          <a:xfrm>
            <a:off x="-259640" y="3936334"/>
            <a:ext cx="847763" cy="1158233"/>
            <a:chOff x="877073" y="2011594"/>
            <a:chExt cx="520952" cy="711737"/>
          </a:xfrm>
        </p:grpSpPr>
        <p:grpSp>
          <p:nvGrpSpPr>
            <p:cNvPr id="140" name="Google Shape;140;p17"/>
            <p:cNvGrpSpPr/>
            <p:nvPr/>
          </p:nvGrpSpPr>
          <p:grpSpPr>
            <a:xfrm>
              <a:off x="877073" y="2011594"/>
              <a:ext cx="520952" cy="711737"/>
              <a:chOff x="7314463" y="437474"/>
              <a:chExt cx="595987" cy="814251"/>
            </a:xfrm>
          </p:grpSpPr>
          <p:sp>
            <p:nvSpPr>
              <p:cNvPr id="141" name="Google Shape;141;p17"/>
              <p:cNvSpPr/>
              <p:nvPr/>
            </p:nvSpPr>
            <p:spPr>
              <a:xfrm>
                <a:off x="7600575" y="932075"/>
                <a:ext cx="309875" cy="319650"/>
              </a:xfrm>
              <a:custGeom>
                <a:avLst/>
                <a:gdLst/>
                <a:ahLst/>
                <a:cxnLst/>
                <a:rect l="l" t="t" r="r" b="b"/>
                <a:pathLst>
                  <a:path w="12395" h="12786" extrusionOk="0">
                    <a:moveTo>
                      <a:pt x="0" y="12786"/>
                    </a:moveTo>
                    <a:lnTo>
                      <a:pt x="12395" y="0"/>
                    </a:lnTo>
                    <a:lnTo>
                      <a:pt x="5173" y="1952"/>
                    </a:lnTo>
                    <a:close/>
                  </a:path>
                </a:pathLst>
              </a:custGeom>
              <a:gradFill>
                <a:gsLst>
                  <a:gs pos="0">
                    <a:srgbClr val="59595B">
                      <a:alpha val="0"/>
                    </a:srgbClr>
                  </a:gs>
                  <a:gs pos="100000">
                    <a:srgbClr val="737373"/>
                  </a:gs>
                </a:gsLst>
                <a:lin ang="8100019" scaled="0"/>
              </a:gradFill>
              <a:ln>
                <a:noFill/>
              </a:ln>
            </p:spPr>
          </p:sp>
          <p:sp>
            <p:nvSpPr>
              <p:cNvPr id="142" name="Google Shape;142;p17"/>
              <p:cNvSpPr/>
              <p:nvPr/>
            </p:nvSpPr>
            <p:spPr>
              <a:xfrm flipH="1">
                <a:off x="7314463" y="437474"/>
                <a:ext cx="552062" cy="812396"/>
              </a:xfrm>
              <a:custGeom>
                <a:avLst/>
                <a:gdLst/>
                <a:ahLst/>
                <a:cxnLst/>
                <a:rect l="l" t="t" r="r" b="b"/>
                <a:pathLst>
                  <a:path w="133027" h="195758" extrusionOk="0">
                    <a:moveTo>
                      <a:pt x="65846" y="26249"/>
                    </a:moveTo>
                    <a:cubicBezTo>
                      <a:pt x="87201" y="26249"/>
                      <a:pt x="104108" y="43156"/>
                      <a:pt x="104108" y="64511"/>
                    </a:cubicBezTo>
                    <a:cubicBezTo>
                      <a:pt x="104108" y="85422"/>
                      <a:pt x="87201" y="102328"/>
                      <a:pt x="65846" y="102328"/>
                    </a:cubicBezTo>
                    <a:cubicBezTo>
                      <a:pt x="44936" y="102328"/>
                      <a:pt x="28029" y="85422"/>
                      <a:pt x="28029" y="64511"/>
                    </a:cubicBezTo>
                    <a:cubicBezTo>
                      <a:pt x="28029" y="43156"/>
                      <a:pt x="44936" y="26249"/>
                      <a:pt x="65846" y="26249"/>
                    </a:cubicBezTo>
                    <a:close/>
                    <a:moveTo>
                      <a:pt x="66291" y="0"/>
                    </a:moveTo>
                    <a:cubicBezTo>
                      <a:pt x="29809" y="0"/>
                      <a:pt x="0" y="29809"/>
                      <a:pt x="0" y="66291"/>
                    </a:cubicBezTo>
                    <a:cubicBezTo>
                      <a:pt x="0" y="84977"/>
                      <a:pt x="18241" y="118345"/>
                      <a:pt x="18241" y="118345"/>
                    </a:cubicBezTo>
                    <a:lnTo>
                      <a:pt x="64066" y="195758"/>
                    </a:lnTo>
                    <a:lnTo>
                      <a:pt x="111671" y="119234"/>
                    </a:lnTo>
                    <a:cubicBezTo>
                      <a:pt x="111671" y="119234"/>
                      <a:pt x="133027" y="87201"/>
                      <a:pt x="133027" y="66291"/>
                    </a:cubicBezTo>
                    <a:cubicBezTo>
                      <a:pt x="133027" y="29809"/>
                      <a:pt x="103218" y="0"/>
                      <a:pt x="66291" y="0"/>
                    </a:cubicBezTo>
                    <a:close/>
                  </a:path>
                </a:pathLst>
              </a:custGeom>
              <a:gradFill>
                <a:gsLst>
                  <a:gs pos="0">
                    <a:srgbClr val="9FDE67"/>
                  </a:gs>
                  <a:gs pos="100000">
                    <a:srgbClr val="5E992A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sz="1867"/>
                  <a:t> </a:t>
                </a:r>
                <a:endParaRPr sz="1867"/>
              </a:p>
            </p:txBody>
          </p:sp>
        </p:grpSp>
        <p:sp>
          <p:nvSpPr>
            <p:cNvPr id="143" name="Google Shape;143;p17"/>
            <p:cNvSpPr/>
            <p:nvPr/>
          </p:nvSpPr>
          <p:spPr>
            <a:xfrm flipH="1">
              <a:off x="877075" y="2012406"/>
              <a:ext cx="482555" cy="710112"/>
            </a:xfrm>
            <a:custGeom>
              <a:avLst/>
              <a:gdLst/>
              <a:ahLst/>
              <a:cxnLst/>
              <a:rect l="l" t="t" r="r" b="b"/>
              <a:pathLst>
                <a:path w="133027" h="195758" extrusionOk="0">
                  <a:moveTo>
                    <a:pt x="65846" y="26249"/>
                  </a:moveTo>
                  <a:cubicBezTo>
                    <a:pt x="87201" y="26249"/>
                    <a:pt x="104108" y="43156"/>
                    <a:pt x="104108" y="64511"/>
                  </a:cubicBezTo>
                  <a:cubicBezTo>
                    <a:pt x="104108" y="85422"/>
                    <a:pt x="87201" y="102328"/>
                    <a:pt x="65846" y="102328"/>
                  </a:cubicBezTo>
                  <a:cubicBezTo>
                    <a:pt x="44936" y="102328"/>
                    <a:pt x="28029" y="85422"/>
                    <a:pt x="28029" y="64511"/>
                  </a:cubicBezTo>
                  <a:cubicBezTo>
                    <a:pt x="28029" y="43156"/>
                    <a:pt x="44936" y="26249"/>
                    <a:pt x="65846" y="26249"/>
                  </a:cubicBezTo>
                  <a:close/>
                  <a:moveTo>
                    <a:pt x="66291" y="0"/>
                  </a:moveTo>
                  <a:cubicBezTo>
                    <a:pt x="29809" y="0"/>
                    <a:pt x="0" y="29809"/>
                    <a:pt x="0" y="66291"/>
                  </a:cubicBezTo>
                  <a:cubicBezTo>
                    <a:pt x="0" y="84977"/>
                    <a:pt x="18241" y="118345"/>
                    <a:pt x="18241" y="118345"/>
                  </a:cubicBezTo>
                  <a:lnTo>
                    <a:pt x="64066" y="195758"/>
                  </a:lnTo>
                  <a:lnTo>
                    <a:pt x="111671" y="119234"/>
                  </a:lnTo>
                  <a:cubicBezTo>
                    <a:pt x="111671" y="119234"/>
                    <a:pt x="133027" y="87201"/>
                    <a:pt x="133027" y="66291"/>
                  </a:cubicBezTo>
                  <a:cubicBezTo>
                    <a:pt x="133027" y="29809"/>
                    <a:pt x="103218" y="0"/>
                    <a:pt x="66291" y="0"/>
                  </a:cubicBezTo>
                  <a:close/>
                </a:path>
              </a:pathLst>
            </a:custGeom>
            <a:solidFill>
              <a:srgbClr val="FFFFFF">
                <a:alpha val="2917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867"/>
                <a:t> </a:t>
              </a:r>
              <a:endParaRPr sz="1867"/>
            </a:p>
          </p:txBody>
        </p:sp>
      </p:grpSp>
    </p:spTree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umbers and text">
  <p:cSld name="BLANK_1_1_1_1_1_1"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5" name="Google Shape;145;p18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-3" y="33"/>
            <a:ext cx="12192004" cy="6857968"/>
          </a:xfrm>
          <a:prstGeom prst="rect">
            <a:avLst/>
          </a:prstGeom>
          <a:noFill/>
          <a:ln>
            <a:noFill/>
          </a:ln>
        </p:spPr>
      </p:pic>
      <p:sp>
        <p:nvSpPr>
          <p:cNvPr id="146" name="Google Shape;146;p18"/>
          <p:cNvSpPr/>
          <p:nvPr/>
        </p:nvSpPr>
        <p:spPr>
          <a:xfrm>
            <a:off x="-67" y="0"/>
            <a:ext cx="12192000" cy="6858000"/>
          </a:xfrm>
          <a:prstGeom prst="rect">
            <a:avLst/>
          </a:prstGeom>
          <a:solidFill>
            <a:srgbClr val="FFFFFF">
              <a:alpha val="7440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47" name="Google Shape;147;p18"/>
          <p:cNvSpPr txBox="1">
            <a:spLocks noGrp="1"/>
          </p:cNvSpPr>
          <p:nvPr>
            <p:ph type="title" hasCustomPrompt="1"/>
          </p:nvPr>
        </p:nvSpPr>
        <p:spPr>
          <a:xfrm rot="21599718">
            <a:off x="959999" y="1513600"/>
            <a:ext cx="4872400" cy="1321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200"/>
              <a:buNone/>
              <a:defRPr sz="8266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200"/>
              <a:buNone/>
              <a:defRPr sz="8266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200"/>
              <a:buNone/>
              <a:defRPr sz="8266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200"/>
              <a:buNone/>
              <a:defRPr sz="8266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200"/>
              <a:buNone/>
              <a:defRPr sz="8266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200"/>
              <a:buNone/>
              <a:defRPr sz="8266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200"/>
              <a:buNone/>
              <a:defRPr sz="8266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200"/>
              <a:buNone/>
              <a:defRPr sz="8266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200"/>
              <a:buNone/>
              <a:defRPr sz="8266"/>
            </a:lvl9pPr>
          </a:lstStyle>
          <a:p>
            <a:r>
              <a:t>xx%</a:t>
            </a:r>
          </a:p>
        </p:txBody>
      </p:sp>
      <p:sp>
        <p:nvSpPr>
          <p:cNvPr id="148" name="Google Shape;148;p18"/>
          <p:cNvSpPr txBox="1">
            <a:spLocks noGrp="1"/>
          </p:cNvSpPr>
          <p:nvPr>
            <p:ph type="subTitle" idx="1"/>
          </p:nvPr>
        </p:nvSpPr>
        <p:spPr>
          <a:xfrm>
            <a:off x="960039" y="2835392"/>
            <a:ext cx="4872400" cy="593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" name="Google Shape;149;p18"/>
          <p:cNvSpPr txBox="1">
            <a:spLocks noGrp="1"/>
          </p:cNvSpPr>
          <p:nvPr>
            <p:ph type="title" idx="2" hasCustomPrompt="1"/>
          </p:nvPr>
        </p:nvSpPr>
        <p:spPr>
          <a:xfrm>
            <a:off x="6359619" y="4222800"/>
            <a:ext cx="4872400" cy="1321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200"/>
              <a:buNone/>
              <a:defRPr sz="8266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200"/>
              <a:buNone/>
              <a:defRPr sz="8266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200"/>
              <a:buNone/>
              <a:defRPr sz="8266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200"/>
              <a:buNone/>
              <a:defRPr sz="8266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200"/>
              <a:buNone/>
              <a:defRPr sz="8266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200"/>
              <a:buNone/>
              <a:defRPr sz="8266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200"/>
              <a:buNone/>
              <a:defRPr sz="8266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200"/>
              <a:buNone/>
              <a:defRPr sz="8266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200"/>
              <a:buNone/>
              <a:defRPr sz="8266"/>
            </a:lvl9pPr>
          </a:lstStyle>
          <a:p>
            <a:r>
              <a:t>xx%</a:t>
            </a:r>
          </a:p>
        </p:txBody>
      </p:sp>
      <p:sp>
        <p:nvSpPr>
          <p:cNvPr id="150" name="Google Shape;150;p18"/>
          <p:cNvSpPr txBox="1">
            <a:spLocks noGrp="1"/>
          </p:cNvSpPr>
          <p:nvPr>
            <p:ph type="subTitle" idx="3"/>
          </p:nvPr>
        </p:nvSpPr>
        <p:spPr>
          <a:xfrm>
            <a:off x="6359599" y="5544393"/>
            <a:ext cx="4872400" cy="593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1">
  <p:cSld name="TITLE_ONLY_1"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2" name="Google Shape;152;p19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-1" y="-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53" name="Google Shape;153;p1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7440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54" name="Google Shape;154;p19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7524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2">
  <p:cSld name="TITLE_ONLY_2">
    <p:spTree>
      <p:nvGrpSpPr>
        <p:cNvPr id="1" name="Shape 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" name="Google Shape;156;p20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-1" y="-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57" name="Google Shape;157;p2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7440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58" name="Google Shape;158;p20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7524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  <p:grpSp>
        <p:nvGrpSpPr>
          <p:cNvPr id="159" name="Google Shape;159;p20"/>
          <p:cNvGrpSpPr/>
          <p:nvPr/>
        </p:nvGrpSpPr>
        <p:grpSpPr>
          <a:xfrm>
            <a:off x="11128731" y="5434693"/>
            <a:ext cx="694603" cy="948983"/>
            <a:chOff x="877073" y="2011594"/>
            <a:chExt cx="520952" cy="711737"/>
          </a:xfrm>
        </p:grpSpPr>
        <p:grpSp>
          <p:nvGrpSpPr>
            <p:cNvPr id="160" name="Google Shape;160;p20"/>
            <p:cNvGrpSpPr/>
            <p:nvPr/>
          </p:nvGrpSpPr>
          <p:grpSpPr>
            <a:xfrm>
              <a:off x="877073" y="2011594"/>
              <a:ext cx="520952" cy="711737"/>
              <a:chOff x="7314463" y="437474"/>
              <a:chExt cx="595987" cy="814251"/>
            </a:xfrm>
          </p:grpSpPr>
          <p:sp>
            <p:nvSpPr>
              <p:cNvPr id="161" name="Google Shape;161;p20"/>
              <p:cNvSpPr/>
              <p:nvPr/>
            </p:nvSpPr>
            <p:spPr>
              <a:xfrm>
                <a:off x="7600575" y="932075"/>
                <a:ext cx="309875" cy="319650"/>
              </a:xfrm>
              <a:custGeom>
                <a:avLst/>
                <a:gdLst/>
                <a:ahLst/>
                <a:cxnLst/>
                <a:rect l="l" t="t" r="r" b="b"/>
                <a:pathLst>
                  <a:path w="12395" h="12786" extrusionOk="0">
                    <a:moveTo>
                      <a:pt x="0" y="12786"/>
                    </a:moveTo>
                    <a:lnTo>
                      <a:pt x="12395" y="0"/>
                    </a:lnTo>
                    <a:lnTo>
                      <a:pt x="5173" y="1952"/>
                    </a:lnTo>
                    <a:close/>
                  </a:path>
                </a:pathLst>
              </a:custGeom>
              <a:gradFill>
                <a:gsLst>
                  <a:gs pos="0">
                    <a:srgbClr val="59595B">
                      <a:alpha val="0"/>
                    </a:srgbClr>
                  </a:gs>
                  <a:gs pos="100000">
                    <a:srgbClr val="737373"/>
                  </a:gs>
                </a:gsLst>
                <a:lin ang="8100019" scaled="0"/>
              </a:gradFill>
              <a:ln>
                <a:noFill/>
              </a:ln>
            </p:spPr>
          </p:sp>
          <p:sp>
            <p:nvSpPr>
              <p:cNvPr id="162" name="Google Shape;162;p20"/>
              <p:cNvSpPr/>
              <p:nvPr/>
            </p:nvSpPr>
            <p:spPr>
              <a:xfrm flipH="1">
                <a:off x="7314463" y="437474"/>
                <a:ext cx="552062" cy="812396"/>
              </a:xfrm>
              <a:custGeom>
                <a:avLst/>
                <a:gdLst/>
                <a:ahLst/>
                <a:cxnLst/>
                <a:rect l="l" t="t" r="r" b="b"/>
                <a:pathLst>
                  <a:path w="133027" h="195758" extrusionOk="0">
                    <a:moveTo>
                      <a:pt x="65846" y="26249"/>
                    </a:moveTo>
                    <a:cubicBezTo>
                      <a:pt x="87201" y="26249"/>
                      <a:pt x="104108" y="43156"/>
                      <a:pt x="104108" y="64511"/>
                    </a:cubicBezTo>
                    <a:cubicBezTo>
                      <a:pt x="104108" y="85422"/>
                      <a:pt x="87201" y="102328"/>
                      <a:pt x="65846" y="102328"/>
                    </a:cubicBezTo>
                    <a:cubicBezTo>
                      <a:pt x="44936" y="102328"/>
                      <a:pt x="28029" y="85422"/>
                      <a:pt x="28029" y="64511"/>
                    </a:cubicBezTo>
                    <a:cubicBezTo>
                      <a:pt x="28029" y="43156"/>
                      <a:pt x="44936" y="26249"/>
                      <a:pt x="65846" y="26249"/>
                    </a:cubicBezTo>
                    <a:close/>
                    <a:moveTo>
                      <a:pt x="66291" y="0"/>
                    </a:moveTo>
                    <a:cubicBezTo>
                      <a:pt x="29809" y="0"/>
                      <a:pt x="0" y="29809"/>
                      <a:pt x="0" y="66291"/>
                    </a:cubicBezTo>
                    <a:cubicBezTo>
                      <a:pt x="0" y="84977"/>
                      <a:pt x="18241" y="118345"/>
                      <a:pt x="18241" y="118345"/>
                    </a:cubicBezTo>
                    <a:lnTo>
                      <a:pt x="64066" y="195758"/>
                    </a:lnTo>
                    <a:lnTo>
                      <a:pt x="111671" y="119234"/>
                    </a:lnTo>
                    <a:cubicBezTo>
                      <a:pt x="111671" y="119234"/>
                      <a:pt x="133027" y="87201"/>
                      <a:pt x="133027" y="66291"/>
                    </a:cubicBezTo>
                    <a:cubicBezTo>
                      <a:pt x="133027" y="29809"/>
                      <a:pt x="103218" y="0"/>
                      <a:pt x="66291" y="0"/>
                    </a:cubicBezTo>
                    <a:close/>
                  </a:path>
                </a:pathLst>
              </a:custGeom>
              <a:gradFill>
                <a:gsLst>
                  <a:gs pos="0">
                    <a:srgbClr val="9FDE67"/>
                  </a:gs>
                  <a:gs pos="100000">
                    <a:srgbClr val="5E992A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sz="1867"/>
                  <a:t> </a:t>
                </a:r>
                <a:endParaRPr sz="1867"/>
              </a:p>
            </p:txBody>
          </p:sp>
        </p:grpSp>
        <p:sp>
          <p:nvSpPr>
            <p:cNvPr id="163" name="Google Shape;163;p20"/>
            <p:cNvSpPr/>
            <p:nvPr/>
          </p:nvSpPr>
          <p:spPr>
            <a:xfrm flipH="1">
              <a:off x="877075" y="2012406"/>
              <a:ext cx="482555" cy="710112"/>
            </a:xfrm>
            <a:custGeom>
              <a:avLst/>
              <a:gdLst/>
              <a:ahLst/>
              <a:cxnLst/>
              <a:rect l="l" t="t" r="r" b="b"/>
              <a:pathLst>
                <a:path w="133027" h="195758" extrusionOk="0">
                  <a:moveTo>
                    <a:pt x="65846" y="26249"/>
                  </a:moveTo>
                  <a:cubicBezTo>
                    <a:pt x="87201" y="26249"/>
                    <a:pt x="104108" y="43156"/>
                    <a:pt x="104108" y="64511"/>
                  </a:cubicBezTo>
                  <a:cubicBezTo>
                    <a:pt x="104108" y="85422"/>
                    <a:pt x="87201" y="102328"/>
                    <a:pt x="65846" y="102328"/>
                  </a:cubicBezTo>
                  <a:cubicBezTo>
                    <a:pt x="44936" y="102328"/>
                    <a:pt x="28029" y="85422"/>
                    <a:pt x="28029" y="64511"/>
                  </a:cubicBezTo>
                  <a:cubicBezTo>
                    <a:pt x="28029" y="43156"/>
                    <a:pt x="44936" y="26249"/>
                    <a:pt x="65846" y="26249"/>
                  </a:cubicBezTo>
                  <a:close/>
                  <a:moveTo>
                    <a:pt x="66291" y="0"/>
                  </a:moveTo>
                  <a:cubicBezTo>
                    <a:pt x="29809" y="0"/>
                    <a:pt x="0" y="29809"/>
                    <a:pt x="0" y="66291"/>
                  </a:cubicBezTo>
                  <a:cubicBezTo>
                    <a:pt x="0" y="84977"/>
                    <a:pt x="18241" y="118345"/>
                    <a:pt x="18241" y="118345"/>
                  </a:cubicBezTo>
                  <a:lnTo>
                    <a:pt x="64066" y="195758"/>
                  </a:lnTo>
                  <a:lnTo>
                    <a:pt x="111671" y="119234"/>
                  </a:lnTo>
                  <a:cubicBezTo>
                    <a:pt x="111671" y="119234"/>
                    <a:pt x="133027" y="87201"/>
                    <a:pt x="133027" y="66291"/>
                  </a:cubicBezTo>
                  <a:cubicBezTo>
                    <a:pt x="133027" y="29809"/>
                    <a:pt x="103218" y="0"/>
                    <a:pt x="66291" y="0"/>
                  </a:cubicBezTo>
                  <a:close/>
                </a:path>
              </a:pathLst>
            </a:custGeom>
            <a:solidFill>
              <a:srgbClr val="FFFFFF">
                <a:alpha val="2917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sz="1867"/>
                <a:t> </a:t>
              </a:r>
              <a:endParaRPr sz="1867"/>
            </a:p>
          </p:txBody>
        </p:sp>
      </p:grpSp>
    </p:spTree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3">
  <p:cSld name="TITLE_ONLY_3"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5" name="Google Shape;165;p21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-1" y="-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66" name="Google Shape;166;p21"/>
          <p:cNvSpPr/>
          <p:nvPr/>
        </p:nvSpPr>
        <p:spPr>
          <a:xfrm>
            <a:off x="-1" y="-1"/>
            <a:ext cx="12192000" cy="6858000"/>
          </a:xfrm>
          <a:prstGeom prst="rect">
            <a:avLst/>
          </a:prstGeom>
          <a:solidFill>
            <a:srgbClr val="FFFFFF">
              <a:alpha val="7440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67" name="Google Shape;167;p21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7524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4">
  <p:cSld name="TITLE_ONLY_4"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9" name="Google Shape;169;p22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-1" y="-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70" name="Google Shape;170;p2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7440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71" name="Google Shape;171;p22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7524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5">
  <p:cSld name="TITLE_ONLY_5"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3" name="Google Shape;173;p23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-1" y="-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74" name="Google Shape;174;p2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7440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75" name="Google Shape;175;p23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7524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  <p:grpSp>
        <p:nvGrpSpPr>
          <p:cNvPr id="176" name="Google Shape;176;p23"/>
          <p:cNvGrpSpPr/>
          <p:nvPr/>
        </p:nvGrpSpPr>
        <p:grpSpPr>
          <a:xfrm>
            <a:off x="265397" y="2291142"/>
            <a:ext cx="694603" cy="948983"/>
            <a:chOff x="695998" y="3193606"/>
            <a:chExt cx="520952" cy="711737"/>
          </a:xfrm>
        </p:grpSpPr>
        <p:grpSp>
          <p:nvGrpSpPr>
            <p:cNvPr id="177" name="Google Shape;177;p23"/>
            <p:cNvGrpSpPr/>
            <p:nvPr/>
          </p:nvGrpSpPr>
          <p:grpSpPr>
            <a:xfrm>
              <a:off x="695998" y="3193606"/>
              <a:ext cx="520952" cy="711737"/>
              <a:chOff x="7314463" y="437474"/>
              <a:chExt cx="595987" cy="814251"/>
            </a:xfrm>
          </p:grpSpPr>
          <p:sp>
            <p:nvSpPr>
              <p:cNvPr id="178" name="Google Shape;178;p23"/>
              <p:cNvSpPr/>
              <p:nvPr/>
            </p:nvSpPr>
            <p:spPr>
              <a:xfrm>
                <a:off x="7600575" y="932075"/>
                <a:ext cx="309875" cy="319650"/>
              </a:xfrm>
              <a:custGeom>
                <a:avLst/>
                <a:gdLst/>
                <a:ahLst/>
                <a:cxnLst/>
                <a:rect l="l" t="t" r="r" b="b"/>
                <a:pathLst>
                  <a:path w="12395" h="12786" extrusionOk="0">
                    <a:moveTo>
                      <a:pt x="0" y="12786"/>
                    </a:moveTo>
                    <a:lnTo>
                      <a:pt x="12395" y="0"/>
                    </a:lnTo>
                    <a:lnTo>
                      <a:pt x="5173" y="1952"/>
                    </a:lnTo>
                    <a:close/>
                  </a:path>
                </a:pathLst>
              </a:custGeom>
              <a:gradFill>
                <a:gsLst>
                  <a:gs pos="0">
                    <a:srgbClr val="59595B">
                      <a:alpha val="0"/>
                    </a:srgbClr>
                  </a:gs>
                  <a:gs pos="100000">
                    <a:srgbClr val="737373"/>
                  </a:gs>
                </a:gsLst>
                <a:lin ang="8100019" scaled="0"/>
              </a:gradFill>
              <a:ln>
                <a:noFill/>
              </a:ln>
            </p:spPr>
          </p:sp>
          <p:sp>
            <p:nvSpPr>
              <p:cNvPr id="179" name="Google Shape;179;p23"/>
              <p:cNvSpPr/>
              <p:nvPr/>
            </p:nvSpPr>
            <p:spPr>
              <a:xfrm flipH="1">
                <a:off x="7314463" y="437474"/>
                <a:ext cx="552062" cy="812396"/>
              </a:xfrm>
              <a:custGeom>
                <a:avLst/>
                <a:gdLst/>
                <a:ahLst/>
                <a:cxnLst/>
                <a:rect l="l" t="t" r="r" b="b"/>
                <a:pathLst>
                  <a:path w="133027" h="195758" extrusionOk="0">
                    <a:moveTo>
                      <a:pt x="65846" y="26249"/>
                    </a:moveTo>
                    <a:cubicBezTo>
                      <a:pt x="87201" y="26249"/>
                      <a:pt x="104108" y="43156"/>
                      <a:pt x="104108" y="64511"/>
                    </a:cubicBezTo>
                    <a:cubicBezTo>
                      <a:pt x="104108" y="85422"/>
                      <a:pt x="87201" y="102328"/>
                      <a:pt x="65846" y="102328"/>
                    </a:cubicBezTo>
                    <a:cubicBezTo>
                      <a:pt x="44936" y="102328"/>
                      <a:pt x="28029" y="85422"/>
                      <a:pt x="28029" y="64511"/>
                    </a:cubicBezTo>
                    <a:cubicBezTo>
                      <a:pt x="28029" y="43156"/>
                      <a:pt x="44936" y="26249"/>
                      <a:pt x="65846" y="26249"/>
                    </a:cubicBezTo>
                    <a:close/>
                    <a:moveTo>
                      <a:pt x="66291" y="0"/>
                    </a:moveTo>
                    <a:cubicBezTo>
                      <a:pt x="29809" y="0"/>
                      <a:pt x="0" y="29809"/>
                      <a:pt x="0" y="66291"/>
                    </a:cubicBezTo>
                    <a:cubicBezTo>
                      <a:pt x="0" y="84977"/>
                      <a:pt x="18241" y="118345"/>
                      <a:pt x="18241" y="118345"/>
                    </a:cubicBezTo>
                    <a:lnTo>
                      <a:pt x="64066" y="195758"/>
                    </a:lnTo>
                    <a:lnTo>
                      <a:pt x="111671" y="119234"/>
                    </a:lnTo>
                    <a:cubicBezTo>
                      <a:pt x="111671" y="119234"/>
                      <a:pt x="133027" y="87201"/>
                      <a:pt x="133027" y="66291"/>
                    </a:cubicBezTo>
                    <a:cubicBezTo>
                      <a:pt x="133027" y="29809"/>
                      <a:pt x="103218" y="0"/>
                      <a:pt x="66291" y="0"/>
                    </a:cubicBezTo>
                    <a:close/>
                  </a:path>
                </a:pathLst>
              </a:custGeom>
              <a:gradFill>
                <a:gsLst>
                  <a:gs pos="0">
                    <a:srgbClr val="637BE4"/>
                  </a:gs>
                  <a:gs pos="100000">
                    <a:srgbClr val="243BA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  <p:sp>
          <p:nvSpPr>
            <p:cNvPr id="180" name="Google Shape;180;p23"/>
            <p:cNvSpPr/>
            <p:nvPr/>
          </p:nvSpPr>
          <p:spPr>
            <a:xfrm flipH="1">
              <a:off x="696000" y="3194419"/>
              <a:ext cx="482555" cy="710112"/>
            </a:xfrm>
            <a:custGeom>
              <a:avLst/>
              <a:gdLst/>
              <a:ahLst/>
              <a:cxnLst/>
              <a:rect l="l" t="t" r="r" b="b"/>
              <a:pathLst>
                <a:path w="133027" h="195758" extrusionOk="0">
                  <a:moveTo>
                    <a:pt x="65846" y="26249"/>
                  </a:moveTo>
                  <a:cubicBezTo>
                    <a:pt x="87201" y="26249"/>
                    <a:pt x="104108" y="43156"/>
                    <a:pt x="104108" y="64511"/>
                  </a:cubicBezTo>
                  <a:cubicBezTo>
                    <a:pt x="104108" y="85422"/>
                    <a:pt x="87201" y="102328"/>
                    <a:pt x="65846" y="102328"/>
                  </a:cubicBezTo>
                  <a:cubicBezTo>
                    <a:pt x="44936" y="102328"/>
                    <a:pt x="28029" y="85422"/>
                    <a:pt x="28029" y="64511"/>
                  </a:cubicBezTo>
                  <a:cubicBezTo>
                    <a:pt x="28029" y="43156"/>
                    <a:pt x="44936" y="26249"/>
                    <a:pt x="65846" y="26249"/>
                  </a:cubicBezTo>
                  <a:close/>
                  <a:moveTo>
                    <a:pt x="66291" y="0"/>
                  </a:moveTo>
                  <a:cubicBezTo>
                    <a:pt x="29809" y="0"/>
                    <a:pt x="0" y="29809"/>
                    <a:pt x="0" y="66291"/>
                  </a:cubicBezTo>
                  <a:cubicBezTo>
                    <a:pt x="0" y="84977"/>
                    <a:pt x="18241" y="118345"/>
                    <a:pt x="18241" y="118345"/>
                  </a:cubicBezTo>
                  <a:lnTo>
                    <a:pt x="64066" y="195758"/>
                  </a:lnTo>
                  <a:lnTo>
                    <a:pt x="111671" y="119234"/>
                  </a:lnTo>
                  <a:cubicBezTo>
                    <a:pt x="111671" y="119234"/>
                    <a:pt x="133027" y="87201"/>
                    <a:pt x="133027" y="66291"/>
                  </a:cubicBezTo>
                  <a:cubicBezTo>
                    <a:pt x="133027" y="29809"/>
                    <a:pt x="103218" y="0"/>
                    <a:pt x="66291" y="0"/>
                  </a:cubicBezTo>
                  <a:close/>
                </a:path>
              </a:pathLst>
            </a:custGeom>
            <a:solidFill>
              <a:srgbClr val="FFFFFF">
                <a:alpha val="2917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29515799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6">
  <p:cSld name="TITLE_ONLY_6">
    <p:spTree>
      <p:nvGrpSpPr>
        <p:cNvPr id="1" name="Shape 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2" name="Google Shape;182;p24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-1" y="-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83" name="Google Shape;183;p24"/>
          <p:cNvSpPr/>
          <p:nvPr/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rgbClr val="FFFFFF">
              <a:alpha val="7440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84" name="Google Shape;184;p24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7524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BLANK_1_1_1_1_1_1_2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6" name="Google Shape;186;p25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-15" y="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87" name="Google Shape;187;p25"/>
          <p:cNvSpPr/>
          <p:nvPr/>
        </p:nvSpPr>
        <p:spPr>
          <a:xfrm>
            <a:off x="-15" y="0"/>
            <a:ext cx="12192000" cy="6858000"/>
          </a:xfrm>
          <a:prstGeom prst="rect">
            <a:avLst/>
          </a:prstGeom>
          <a:solidFill>
            <a:srgbClr val="FFFFFF">
              <a:alpha val="7440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88" name="Google Shape;188;p25"/>
          <p:cNvSpPr txBox="1"/>
          <p:nvPr/>
        </p:nvSpPr>
        <p:spPr>
          <a:xfrm>
            <a:off x="3700200" y="4700867"/>
            <a:ext cx="4791600" cy="933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40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dk1"/>
                </a:solidFill>
                <a:latin typeface="Barlow Medium"/>
                <a:ea typeface="Barlow Medium"/>
                <a:cs typeface="Barlow Medium"/>
                <a:sym typeface="Barlow Medium"/>
              </a:rPr>
              <a:t>CREDITS: This presentation template was created by </a:t>
            </a:r>
            <a:r>
              <a:rPr lang="en" sz="1600">
                <a:solidFill>
                  <a:schemeClr val="dk1"/>
                </a:solidFill>
                <a:uFill>
                  <a:noFill/>
                </a:uFill>
                <a:latin typeface="Barlow Medium"/>
                <a:ea typeface="Barlow Medium"/>
                <a:cs typeface="Barlow Medium"/>
                <a:sym typeface="Barlow Medium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sz="1600">
                <a:solidFill>
                  <a:schemeClr val="dk1"/>
                </a:solidFill>
                <a:latin typeface="Barlow Medium"/>
                <a:ea typeface="Barlow Medium"/>
                <a:cs typeface="Barlow Medium"/>
                <a:sym typeface="Barlow Medium"/>
              </a:rPr>
              <a:t>, including icons by </a:t>
            </a:r>
            <a:r>
              <a:rPr lang="en" sz="1600">
                <a:solidFill>
                  <a:schemeClr val="dk1"/>
                </a:solidFill>
                <a:uFill>
                  <a:noFill/>
                </a:uFill>
                <a:latin typeface="Barlow Medium"/>
                <a:ea typeface="Barlow Medium"/>
                <a:cs typeface="Barlow Medium"/>
                <a:sym typeface="Barlow Medium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" sz="1600">
                <a:solidFill>
                  <a:schemeClr val="dk1"/>
                </a:solidFill>
                <a:latin typeface="Barlow Medium"/>
                <a:ea typeface="Barlow Medium"/>
                <a:cs typeface="Barlow Medium"/>
                <a:sym typeface="Barlow Medium"/>
              </a:rPr>
              <a:t>, and infographics &amp; images by </a:t>
            </a:r>
            <a:r>
              <a:rPr lang="en" sz="1600">
                <a:solidFill>
                  <a:schemeClr val="dk1"/>
                </a:solidFill>
                <a:uFill>
                  <a:noFill/>
                </a:uFill>
                <a:latin typeface="Barlow Medium"/>
                <a:ea typeface="Barlow Medium"/>
                <a:cs typeface="Barlow Medium"/>
                <a:sym typeface="Barlow Medium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endParaRPr sz="1600">
              <a:solidFill>
                <a:schemeClr val="dk1"/>
              </a:solidFill>
              <a:latin typeface="Barlow Medium"/>
              <a:ea typeface="Barlow Medium"/>
              <a:cs typeface="Barlow Medium"/>
              <a:sym typeface="Barlow Medium"/>
            </a:endParaRPr>
          </a:p>
        </p:txBody>
      </p:sp>
      <p:sp>
        <p:nvSpPr>
          <p:cNvPr id="189" name="Google Shape;189;p25"/>
          <p:cNvSpPr txBox="1">
            <a:spLocks noGrp="1"/>
          </p:cNvSpPr>
          <p:nvPr>
            <p:ph type="ctrTitle"/>
          </p:nvPr>
        </p:nvSpPr>
        <p:spPr>
          <a:xfrm>
            <a:off x="3700200" y="720000"/>
            <a:ext cx="4791600" cy="15020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8666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90" name="Google Shape;190;p25"/>
          <p:cNvSpPr txBox="1">
            <a:spLocks noGrp="1"/>
          </p:cNvSpPr>
          <p:nvPr>
            <p:ph type="subTitle" idx="1"/>
          </p:nvPr>
        </p:nvSpPr>
        <p:spPr>
          <a:xfrm>
            <a:off x="3700200" y="2772467"/>
            <a:ext cx="4791600" cy="19284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>
                <a:solidFill>
                  <a:schemeClr val="dk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2400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2400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2400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2400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2400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2400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2400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24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91" name="Google Shape;191;p25"/>
          <p:cNvSpPr txBox="1">
            <a:spLocks noGrp="1"/>
          </p:cNvSpPr>
          <p:nvPr>
            <p:ph type="subTitle" idx="2"/>
          </p:nvPr>
        </p:nvSpPr>
        <p:spPr>
          <a:xfrm rot="21599139">
            <a:off x="3700235" y="5635073"/>
            <a:ext cx="4791600" cy="497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6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467">
                <a:solidFill>
                  <a:schemeClr val="dk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467">
                <a:solidFill>
                  <a:schemeClr val="dk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467">
                <a:solidFill>
                  <a:schemeClr val="dk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467">
                <a:solidFill>
                  <a:schemeClr val="dk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467">
                <a:solidFill>
                  <a:schemeClr val="dk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467">
                <a:solidFill>
                  <a:schemeClr val="dk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467">
                <a:solidFill>
                  <a:schemeClr val="dk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467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BLANK_1_1_1_1_1_1_1"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3" name="Google Shape;193;p26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94" name="Google Shape;194;p26"/>
          <p:cNvSpPr/>
          <p:nvPr/>
        </p:nvSpPr>
        <p:spPr>
          <a:xfrm>
            <a:off x="-67" y="0"/>
            <a:ext cx="12192000" cy="6858000"/>
          </a:xfrm>
          <a:prstGeom prst="rect">
            <a:avLst/>
          </a:prstGeom>
          <a:gradFill>
            <a:gsLst>
              <a:gs pos="0">
                <a:srgbClr val="FFFFFF">
                  <a:alpha val="29019"/>
                </a:srgbClr>
              </a:gs>
              <a:gs pos="50000">
                <a:srgbClr val="FFFFFF">
                  <a:alpha val="85882"/>
                </a:srgbClr>
              </a:gs>
              <a:gs pos="100000">
                <a:srgbClr val="FFFFFF">
                  <a:alpha val="29019"/>
                </a:srgbClr>
              </a:gs>
            </a:gsLst>
            <a:lin ang="10800025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</p:spTree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BLANK_1_1_1_1_1_1_1_1"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6" name="Google Shape;196;p27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-1" y="-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97" name="Google Shape;197;p27"/>
          <p:cNvSpPr/>
          <p:nvPr/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rgbClr val="FFFFFF">
              <a:alpha val="7440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</p:spTree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BLANK_1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" name="Google Shape;70;p13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"/>
            <a:ext cx="12192004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71" name="Google Shape;71;p13"/>
          <p:cNvSpPr/>
          <p:nvPr/>
        </p:nvSpPr>
        <p:spPr>
          <a:xfrm>
            <a:off x="-67" y="0"/>
            <a:ext cx="12192000" cy="6858000"/>
          </a:xfrm>
          <a:prstGeom prst="rect">
            <a:avLst/>
          </a:prstGeom>
          <a:solidFill>
            <a:srgbClr val="FFFFFF">
              <a:alpha val="7440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72" name="Google Shape;72;p13"/>
          <p:cNvSpPr txBox="1">
            <a:spLocks noGrp="1"/>
          </p:cNvSpPr>
          <p:nvPr>
            <p:ph type="title"/>
          </p:nvPr>
        </p:nvSpPr>
        <p:spPr>
          <a:xfrm>
            <a:off x="1864400" y="2080269"/>
            <a:ext cx="3115200" cy="703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73" name="Google Shape;73;p13"/>
          <p:cNvSpPr txBox="1">
            <a:spLocks noGrp="1"/>
          </p:cNvSpPr>
          <p:nvPr>
            <p:ph type="subTitle" idx="1"/>
          </p:nvPr>
        </p:nvSpPr>
        <p:spPr>
          <a:xfrm>
            <a:off x="1864200" y="2782300"/>
            <a:ext cx="3115200" cy="7912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13"/>
          <p:cNvSpPr txBox="1">
            <a:spLocks noGrp="1"/>
          </p:cNvSpPr>
          <p:nvPr>
            <p:ph type="title" idx="2" hasCustomPrompt="1"/>
          </p:nvPr>
        </p:nvSpPr>
        <p:spPr>
          <a:xfrm>
            <a:off x="960200" y="4334167"/>
            <a:ext cx="903600" cy="70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9pPr>
          </a:lstStyle>
          <a:p>
            <a:r>
              <a:t>xx%</a:t>
            </a:r>
          </a:p>
        </p:txBody>
      </p:sp>
      <p:sp>
        <p:nvSpPr>
          <p:cNvPr id="75" name="Google Shape;75;p13"/>
          <p:cNvSpPr txBox="1">
            <a:spLocks noGrp="1"/>
          </p:cNvSpPr>
          <p:nvPr>
            <p:ph type="title" idx="3"/>
          </p:nvPr>
        </p:nvSpPr>
        <p:spPr>
          <a:xfrm>
            <a:off x="1864400" y="4333736"/>
            <a:ext cx="3115200" cy="703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76" name="Google Shape;76;p13"/>
          <p:cNvSpPr txBox="1">
            <a:spLocks noGrp="1"/>
          </p:cNvSpPr>
          <p:nvPr>
            <p:ph type="subTitle" idx="4"/>
          </p:nvPr>
        </p:nvSpPr>
        <p:spPr>
          <a:xfrm>
            <a:off x="1864200" y="5035767"/>
            <a:ext cx="3115200" cy="7912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13"/>
          <p:cNvSpPr txBox="1">
            <a:spLocks noGrp="1"/>
          </p:cNvSpPr>
          <p:nvPr>
            <p:ph type="title" idx="5"/>
          </p:nvPr>
        </p:nvSpPr>
        <p:spPr>
          <a:xfrm>
            <a:off x="7000800" y="4333736"/>
            <a:ext cx="3115200" cy="703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78" name="Google Shape;78;p13"/>
          <p:cNvSpPr txBox="1">
            <a:spLocks noGrp="1"/>
          </p:cNvSpPr>
          <p:nvPr>
            <p:ph type="subTitle" idx="6"/>
          </p:nvPr>
        </p:nvSpPr>
        <p:spPr>
          <a:xfrm>
            <a:off x="7000600" y="5035767"/>
            <a:ext cx="3115200" cy="7912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13"/>
          <p:cNvSpPr txBox="1">
            <a:spLocks noGrp="1"/>
          </p:cNvSpPr>
          <p:nvPr>
            <p:ph type="title" idx="7"/>
          </p:nvPr>
        </p:nvSpPr>
        <p:spPr>
          <a:xfrm>
            <a:off x="7000800" y="2080269"/>
            <a:ext cx="3115200" cy="7036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80" name="Google Shape;80;p13"/>
          <p:cNvSpPr txBox="1">
            <a:spLocks noGrp="1"/>
          </p:cNvSpPr>
          <p:nvPr>
            <p:ph type="subTitle" idx="8"/>
          </p:nvPr>
        </p:nvSpPr>
        <p:spPr>
          <a:xfrm>
            <a:off x="7000600" y="2782300"/>
            <a:ext cx="3115200" cy="7912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" name="Google Shape;81;p13"/>
          <p:cNvSpPr txBox="1">
            <a:spLocks noGrp="1"/>
          </p:cNvSpPr>
          <p:nvPr>
            <p:ph type="title" idx="9" hasCustomPrompt="1"/>
          </p:nvPr>
        </p:nvSpPr>
        <p:spPr>
          <a:xfrm rot="1521">
            <a:off x="6096600" y="4332672"/>
            <a:ext cx="904000" cy="7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9pPr>
          </a:lstStyle>
          <a:p>
            <a:r>
              <a:t>xx%</a:t>
            </a:r>
          </a:p>
        </p:txBody>
      </p:sp>
      <p:sp>
        <p:nvSpPr>
          <p:cNvPr id="82" name="Google Shape;82;p13"/>
          <p:cNvSpPr txBox="1">
            <a:spLocks noGrp="1"/>
          </p:cNvSpPr>
          <p:nvPr>
            <p:ph type="title" idx="13" hasCustomPrompt="1"/>
          </p:nvPr>
        </p:nvSpPr>
        <p:spPr>
          <a:xfrm rot="1521">
            <a:off x="960167" y="2080500"/>
            <a:ext cx="904000" cy="7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9pPr>
          </a:lstStyle>
          <a:p>
            <a:r>
              <a:t>xx%</a:t>
            </a:r>
          </a:p>
        </p:txBody>
      </p:sp>
      <p:sp>
        <p:nvSpPr>
          <p:cNvPr id="83" name="Google Shape;83;p13"/>
          <p:cNvSpPr txBox="1">
            <a:spLocks noGrp="1"/>
          </p:cNvSpPr>
          <p:nvPr>
            <p:ph type="title" idx="14" hasCustomPrompt="1"/>
          </p:nvPr>
        </p:nvSpPr>
        <p:spPr>
          <a:xfrm rot="1521">
            <a:off x="6096600" y="2080629"/>
            <a:ext cx="904000" cy="7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9pPr>
          </a:lstStyle>
          <a:p>
            <a:r>
              <a:t>xx%</a:t>
            </a:r>
          </a:p>
        </p:txBody>
      </p:sp>
      <p:sp>
        <p:nvSpPr>
          <p:cNvPr id="84" name="Google Shape;84;p13"/>
          <p:cNvSpPr txBox="1">
            <a:spLocks noGrp="1"/>
          </p:cNvSpPr>
          <p:nvPr>
            <p:ph type="title" idx="15"/>
          </p:nvPr>
        </p:nvSpPr>
        <p:spPr>
          <a:xfrm>
            <a:off x="960000" y="720000"/>
            <a:ext cx="10272000" cy="75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endParaRPr/>
          </a:p>
        </p:txBody>
      </p:sp>
      <p:grpSp>
        <p:nvGrpSpPr>
          <p:cNvPr id="85" name="Google Shape;85;p13"/>
          <p:cNvGrpSpPr/>
          <p:nvPr/>
        </p:nvGrpSpPr>
        <p:grpSpPr>
          <a:xfrm>
            <a:off x="52797" y="4533059"/>
            <a:ext cx="694603" cy="948983"/>
            <a:chOff x="695998" y="3193606"/>
            <a:chExt cx="520952" cy="711737"/>
          </a:xfrm>
        </p:grpSpPr>
        <p:grpSp>
          <p:nvGrpSpPr>
            <p:cNvPr id="86" name="Google Shape;86;p13"/>
            <p:cNvGrpSpPr/>
            <p:nvPr/>
          </p:nvGrpSpPr>
          <p:grpSpPr>
            <a:xfrm>
              <a:off x="695998" y="3193606"/>
              <a:ext cx="520952" cy="711737"/>
              <a:chOff x="7314463" y="437474"/>
              <a:chExt cx="595987" cy="814251"/>
            </a:xfrm>
          </p:grpSpPr>
          <p:sp>
            <p:nvSpPr>
              <p:cNvPr id="87" name="Google Shape;87;p13"/>
              <p:cNvSpPr/>
              <p:nvPr/>
            </p:nvSpPr>
            <p:spPr>
              <a:xfrm>
                <a:off x="7600575" y="932075"/>
                <a:ext cx="309875" cy="319650"/>
              </a:xfrm>
              <a:custGeom>
                <a:avLst/>
                <a:gdLst/>
                <a:ahLst/>
                <a:cxnLst/>
                <a:rect l="l" t="t" r="r" b="b"/>
                <a:pathLst>
                  <a:path w="12395" h="12786" extrusionOk="0">
                    <a:moveTo>
                      <a:pt x="0" y="12786"/>
                    </a:moveTo>
                    <a:lnTo>
                      <a:pt x="12395" y="0"/>
                    </a:lnTo>
                    <a:lnTo>
                      <a:pt x="5173" y="1952"/>
                    </a:lnTo>
                    <a:close/>
                  </a:path>
                </a:pathLst>
              </a:custGeom>
              <a:gradFill>
                <a:gsLst>
                  <a:gs pos="0">
                    <a:srgbClr val="59595B">
                      <a:alpha val="0"/>
                    </a:srgbClr>
                  </a:gs>
                  <a:gs pos="100000">
                    <a:srgbClr val="737373"/>
                  </a:gs>
                </a:gsLst>
                <a:lin ang="8100019" scaled="0"/>
              </a:gradFill>
              <a:ln>
                <a:noFill/>
              </a:ln>
            </p:spPr>
          </p:sp>
          <p:sp>
            <p:nvSpPr>
              <p:cNvPr id="88" name="Google Shape;88;p13"/>
              <p:cNvSpPr/>
              <p:nvPr/>
            </p:nvSpPr>
            <p:spPr>
              <a:xfrm flipH="1">
                <a:off x="7314463" y="437474"/>
                <a:ext cx="552062" cy="812396"/>
              </a:xfrm>
              <a:custGeom>
                <a:avLst/>
                <a:gdLst/>
                <a:ahLst/>
                <a:cxnLst/>
                <a:rect l="l" t="t" r="r" b="b"/>
                <a:pathLst>
                  <a:path w="133027" h="195758" extrusionOk="0">
                    <a:moveTo>
                      <a:pt x="65846" y="26249"/>
                    </a:moveTo>
                    <a:cubicBezTo>
                      <a:pt x="87201" y="26249"/>
                      <a:pt x="104108" y="43156"/>
                      <a:pt x="104108" y="64511"/>
                    </a:cubicBezTo>
                    <a:cubicBezTo>
                      <a:pt x="104108" y="85422"/>
                      <a:pt x="87201" y="102328"/>
                      <a:pt x="65846" y="102328"/>
                    </a:cubicBezTo>
                    <a:cubicBezTo>
                      <a:pt x="44936" y="102328"/>
                      <a:pt x="28029" y="85422"/>
                      <a:pt x="28029" y="64511"/>
                    </a:cubicBezTo>
                    <a:cubicBezTo>
                      <a:pt x="28029" y="43156"/>
                      <a:pt x="44936" y="26249"/>
                      <a:pt x="65846" y="26249"/>
                    </a:cubicBezTo>
                    <a:close/>
                    <a:moveTo>
                      <a:pt x="66291" y="0"/>
                    </a:moveTo>
                    <a:cubicBezTo>
                      <a:pt x="29809" y="0"/>
                      <a:pt x="0" y="29809"/>
                      <a:pt x="0" y="66291"/>
                    </a:cubicBezTo>
                    <a:cubicBezTo>
                      <a:pt x="0" y="84977"/>
                      <a:pt x="18241" y="118345"/>
                      <a:pt x="18241" y="118345"/>
                    </a:cubicBezTo>
                    <a:lnTo>
                      <a:pt x="64066" y="195758"/>
                    </a:lnTo>
                    <a:lnTo>
                      <a:pt x="111671" y="119234"/>
                    </a:lnTo>
                    <a:cubicBezTo>
                      <a:pt x="111671" y="119234"/>
                      <a:pt x="133027" y="87201"/>
                      <a:pt x="133027" y="66291"/>
                    </a:cubicBezTo>
                    <a:cubicBezTo>
                      <a:pt x="133027" y="29809"/>
                      <a:pt x="103218" y="0"/>
                      <a:pt x="66291" y="0"/>
                    </a:cubicBezTo>
                    <a:close/>
                  </a:path>
                </a:pathLst>
              </a:custGeom>
              <a:gradFill>
                <a:gsLst>
                  <a:gs pos="0">
                    <a:srgbClr val="637BE4"/>
                  </a:gs>
                  <a:gs pos="100000">
                    <a:srgbClr val="243BA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  <p:sp>
          <p:nvSpPr>
            <p:cNvPr id="89" name="Google Shape;89;p13"/>
            <p:cNvSpPr/>
            <p:nvPr/>
          </p:nvSpPr>
          <p:spPr>
            <a:xfrm flipH="1">
              <a:off x="696000" y="3194419"/>
              <a:ext cx="482555" cy="710112"/>
            </a:xfrm>
            <a:custGeom>
              <a:avLst/>
              <a:gdLst/>
              <a:ahLst/>
              <a:cxnLst/>
              <a:rect l="l" t="t" r="r" b="b"/>
              <a:pathLst>
                <a:path w="133027" h="195758" extrusionOk="0">
                  <a:moveTo>
                    <a:pt x="65846" y="26249"/>
                  </a:moveTo>
                  <a:cubicBezTo>
                    <a:pt x="87201" y="26249"/>
                    <a:pt x="104108" y="43156"/>
                    <a:pt x="104108" y="64511"/>
                  </a:cubicBezTo>
                  <a:cubicBezTo>
                    <a:pt x="104108" y="85422"/>
                    <a:pt x="87201" y="102328"/>
                    <a:pt x="65846" y="102328"/>
                  </a:cubicBezTo>
                  <a:cubicBezTo>
                    <a:pt x="44936" y="102328"/>
                    <a:pt x="28029" y="85422"/>
                    <a:pt x="28029" y="64511"/>
                  </a:cubicBezTo>
                  <a:cubicBezTo>
                    <a:pt x="28029" y="43156"/>
                    <a:pt x="44936" y="26249"/>
                    <a:pt x="65846" y="26249"/>
                  </a:cubicBezTo>
                  <a:close/>
                  <a:moveTo>
                    <a:pt x="66291" y="0"/>
                  </a:moveTo>
                  <a:cubicBezTo>
                    <a:pt x="29809" y="0"/>
                    <a:pt x="0" y="29809"/>
                    <a:pt x="0" y="66291"/>
                  </a:cubicBezTo>
                  <a:cubicBezTo>
                    <a:pt x="0" y="84977"/>
                    <a:pt x="18241" y="118345"/>
                    <a:pt x="18241" y="118345"/>
                  </a:cubicBezTo>
                  <a:lnTo>
                    <a:pt x="64066" y="195758"/>
                  </a:lnTo>
                  <a:lnTo>
                    <a:pt x="111671" y="119234"/>
                  </a:lnTo>
                  <a:cubicBezTo>
                    <a:pt x="111671" y="119234"/>
                    <a:pt x="133027" y="87201"/>
                    <a:pt x="133027" y="66291"/>
                  </a:cubicBezTo>
                  <a:cubicBezTo>
                    <a:pt x="133027" y="29809"/>
                    <a:pt x="103218" y="0"/>
                    <a:pt x="66291" y="0"/>
                  </a:cubicBezTo>
                  <a:close/>
                </a:path>
              </a:pathLst>
            </a:custGeom>
            <a:solidFill>
              <a:srgbClr val="FFFFFF">
                <a:alpha val="2917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grpSp>
        <p:nvGrpSpPr>
          <p:cNvPr id="90" name="Google Shape;90;p13"/>
          <p:cNvGrpSpPr/>
          <p:nvPr/>
        </p:nvGrpSpPr>
        <p:grpSpPr>
          <a:xfrm rot="18658481">
            <a:off x="10941942" y="1873009"/>
            <a:ext cx="896753" cy="906171"/>
            <a:chOff x="5542118" y="902100"/>
            <a:chExt cx="872785" cy="881950"/>
          </a:xfrm>
        </p:grpSpPr>
        <p:sp>
          <p:nvSpPr>
            <p:cNvPr id="91" name="Google Shape;91;p13"/>
            <p:cNvSpPr/>
            <p:nvPr/>
          </p:nvSpPr>
          <p:spPr>
            <a:xfrm>
              <a:off x="5542118" y="902100"/>
              <a:ext cx="872785" cy="881950"/>
            </a:xfrm>
            <a:custGeom>
              <a:avLst/>
              <a:gdLst/>
              <a:ahLst/>
              <a:cxnLst/>
              <a:rect l="l" t="t" r="r" b="b"/>
              <a:pathLst>
                <a:path w="194168" h="196207" extrusionOk="0">
                  <a:moveTo>
                    <a:pt x="11576" y="0"/>
                  </a:moveTo>
                  <a:cubicBezTo>
                    <a:pt x="8883" y="0"/>
                    <a:pt x="6181" y="987"/>
                    <a:pt x="4103" y="3065"/>
                  </a:cubicBezTo>
                  <a:cubicBezTo>
                    <a:pt x="1026" y="5799"/>
                    <a:pt x="1" y="10243"/>
                    <a:pt x="1368" y="14004"/>
                  </a:cubicBezTo>
                  <a:lnTo>
                    <a:pt x="65293" y="189369"/>
                  </a:lnTo>
                  <a:cubicBezTo>
                    <a:pt x="67002" y="193471"/>
                    <a:pt x="70762" y="196206"/>
                    <a:pt x="74864" y="196206"/>
                  </a:cubicBezTo>
                  <a:cubicBezTo>
                    <a:pt x="79308" y="196206"/>
                    <a:pt x="83410" y="193813"/>
                    <a:pt x="85120" y="190053"/>
                  </a:cubicBezTo>
                  <a:lnTo>
                    <a:pt x="114176" y="124077"/>
                  </a:lnTo>
                  <a:cubicBezTo>
                    <a:pt x="115202" y="121342"/>
                    <a:pt x="117595" y="119291"/>
                    <a:pt x="119988" y="118266"/>
                  </a:cubicBezTo>
                  <a:lnTo>
                    <a:pt x="187331" y="92286"/>
                  </a:lnTo>
                  <a:cubicBezTo>
                    <a:pt x="191433" y="90577"/>
                    <a:pt x="193826" y="86816"/>
                    <a:pt x="193826" y="82714"/>
                  </a:cubicBezTo>
                  <a:cubicBezTo>
                    <a:pt x="194168" y="78270"/>
                    <a:pt x="191433" y="74510"/>
                    <a:pt x="187673" y="72801"/>
                  </a:cubicBezTo>
                  <a:lnTo>
                    <a:pt x="15384" y="672"/>
                  </a:lnTo>
                  <a:cubicBezTo>
                    <a:pt x="14163" y="228"/>
                    <a:pt x="12871" y="0"/>
                    <a:pt x="11576" y="0"/>
                  </a:cubicBezTo>
                  <a:close/>
                </a:path>
              </a:pathLst>
            </a:custGeom>
            <a:gradFill>
              <a:gsLst>
                <a:gs pos="0">
                  <a:srgbClr val="FF2F2F">
                    <a:alpha val="64709"/>
                  </a:srgbClr>
                </a:gs>
                <a:gs pos="100000">
                  <a:srgbClr val="A50707">
                    <a:alpha val="64709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42863" dist="57150" algn="bl" rotWithShape="0">
                <a:srgbClr val="000000">
                  <a:alpha val="23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92" name="Google Shape;92;p13"/>
            <p:cNvSpPr/>
            <p:nvPr/>
          </p:nvSpPr>
          <p:spPr>
            <a:xfrm>
              <a:off x="5542118" y="902100"/>
              <a:ext cx="872785" cy="881950"/>
            </a:xfrm>
            <a:custGeom>
              <a:avLst/>
              <a:gdLst/>
              <a:ahLst/>
              <a:cxnLst/>
              <a:rect l="l" t="t" r="r" b="b"/>
              <a:pathLst>
                <a:path w="194168" h="196207" extrusionOk="0">
                  <a:moveTo>
                    <a:pt x="11576" y="0"/>
                  </a:moveTo>
                  <a:cubicBezTo>
                    <a:pt x="8883" y="0"/>
                    <a:pt x="6181" y="987"/>
                    <a:pt x="4103" y="3065"/>
                  </a:cubicBezTo>
                  <a:cubicBezTo>
                    <a:pt x="1026" y="5799"/>
                    <a:pt x="1" y="10243"/>
                    <a:pt x="1368" y="14004"/>
                  </a:cubicBezTo>
                  <a:lnTo>
                    <a:pt x="65293" y="189369"/>
                  </a:lnTo>
                  <a:cubicBezTo>
                    <a:pt x="67002" y="193471"/>
                    <a:pt x="70762" y="196206"/>
                    <a:pt x="74864" y="196206"/>
                  </a:cubicBezTo>
                  <a:cubicBezTo>
                    <a:pt x="79308" y="196206"/>
                    <a:pt x="83410" y="193813"/>
                    <a:pt x="85120" y="190053"/>
                  </a:cubicBezTo>
                  <a:lnTo>
                    <a:pt x="114176" y="124077"/>
                  </a:lnTo>
                  <a:cubicBezTo>
                    <a:pt x="115202" y="121342"/>
                    <a:pt x="117595" y="119291"/>
                    <a:pt x="119988" y="118266"/>
                  </a:cubicBezTo>
                  <a:lnTo>
                    <a:pt x="187331" y="92286"/>
                  </a:lnTo>
                  <a:cubicBezTo>
                    <a:pt x="191433" y="90577"/>
                    <a:pt x="193826" y="86816"/>
                    <a:pt x="193826" y="82714"/>
                  </a:cubicBezTo>
                  <a:cubicBezTo>
                    <a:pt x="194168" y="78270"/>
                    <a:pt x="191433" y="74510"/>
                    <a:pt x="187673" y="72801"/>
                  </a:cubicBezTo>
                  <a:lnTo>
                    <a:pt x="15384" y="672"/>
                  </a:lnTo>
                  <a:cubicBezTo>
                    <a:pt x="14163" y="228"/>
                    <a:pt x="12871" y="0"/>
                    <a:pt x="11576" y="0"/>
                  </a:cubicBezTo>
                  <a:close/>
                </a:path>
              </a:pathLst>
            </a:custGeom>
            <a:solidFill>
              <a:srgbClr val="FFFFFF">
                <a:alpha val="2917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0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62831778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Content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3200" y="1219202"/>
            <a:ext cx="11684000" cy="4525963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508CA4"/>
              </a:buClr>
              <a:buSzPct val="80000"/>
              <a:buFont typeface="Wingdings" panose="05000000000000000000" pitchFamily="2" charset="2"/>
              <a:buNone/>
              <a:defRPr sz="1800" baseline="0">
                <a:solidFill>
                  <a:srgbClr val="37373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>
              <a:buClr>
                <a:srgbClr val="508CA4"/>
              </a:buClr>
              <a:buSzPct val="100000"/>
              <a:buFont typeface="Wingdings" panose="05000000000000000000" pitchFamily="2" charset="2"/>
              <a:buChar char="§"/>
              <a:defRPr sz="1500">
                <a:solidFill>
                  <a:srgbClr val="37373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>
              <a:buClr>
                <a:srgbClr val="008551"/>
              </a:buClr>
              <a:buFont typeface="Wingdings" panose="05000000000000000000" pitchFamily="2" charset="2"/>
              <a:buChar char="§"/>
              <a:defRPr sz="1275" baseline="0">
                <a:solidFill>
                  <a:srgbClr val="37373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>
              <a:buClr>
                <a:srgbClr val="508CA4"/>
              </a:buClr>
              <a:buSzPct val="100000"/>
              <a:buFont typeface="Wingdings" panose="05000000000000000000" pitchFamily="2" charset="2"/>
              <a:buChar char="§"/>
              <a:defRPr sz="1050">
                <a:solidFill>
                  <a:srgbClr val="37373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>
              <a:buClr>
                <a:srgbClr val="008559"/>
              </a:buClr>
              <a:buSzPct val="100000"/>
              <a:buFont typeface="Wingdings" panose="05000000000000000000" pitchFamily="2" charset="2"/>
              <a:buChar char="§"/>
              <a:defRPr sz="1050">
                <a:solidFill>
                  <a:srgbClr val="37373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03200" y="6324600"/>
            <a:ext cx="8331200" cy="3048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750">
                <a:solidFill>
                  <a:srgbClr val="37373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Add Referenc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03200" y="152400"/>
            <a:ext cx="11684000" cy="6858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b="0">
                <a:solidFill>
                  <a:srgbClr val="006CA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380775784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15169591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e rectangle with white border&#10;&#10;Description automatically generated">
            <a:extLst>
              <a:ext uri="{FF2B5EF4-FFF2-40B4-BE49-F238E27FC236}">
                <a16:creationId xmlns:a16="http://schemas.microsoft.com/office/drawing/2014/main" id="{1FE2DB24-1168-6A81-AD6C-FF2EB78E07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895121"/>
            <a:ext cx="12192000" cy="3531904"/>
          </a:xfrm>
          <a:prstGeom prst="rect">
            <a:avLst/>
          </a:prstGeom>
        </p:spPr>
      </p:pic>
      <p:pic>
        <p:nvPicPr>
          <p:cNvPr id="11" name="Picture 10" descr="A blue and black logo&#10;&#10;Description automatically generated">
            <a:extLst>
              <a:ext uri="{FF2B5EF4-FFF2-40B4-BE49-F238E27FC236}">
                <a16:creationId xmlns:a16="http://schemas.microsoft.com/office/drawing/2014/main" id="{763BC1A5-B785-A643-A3FD-6B9B67B1CF9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6616" y="97463"/>
            <a:ext cx="4820056" cy="17246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09658" y="2206161"/>
            <a:ext cx="9144000" cy="1948177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oday’s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09658" y="4167853"/>
            <a:ext cx="9144000" cy="111072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Optional Sub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A2C89F1-061F-B521-4FCD-216CF00A09D5}"/>
              </a:ext>
            </a:extLst>
          </p:cNvPr>
          <p:cNvSpPr/>
          <p:nvPr userDrawn="1"/>
        </p:nvSpPr>
        <p:spPr>
          <a:xfrm>
            <a:off x="152400" y="6096000"/>
            <a:ext cx="3241964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775FC47-FBE5-F12C-16C4-588CE2F9FC9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96315" y="5811117"/>
            <a:ext cx="2514685" cy="365125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None/>
              <a:defRPr sz="2400">
                <a:solidFill>
                  <a:schemeClr val="accent1"/>
                </a:solidFill>
              </a:defRPr>
            </a:lvl2pPr>
            <a:lvl3pPr marL="914400" indent="0">
              <a:buNone/>
              <a:defRPr sz="2400">
                <a:solidFill>
                  <a:schemeClr val="accent1"/>
                </a:solidFill>
              </a:defRPr>
            </a:lvl3pPr>
            <a:lvl4pPr marL="1371600" indent="0">
              <a:buNone/>
              <a:defRPr sz="2400">
                <a:solidFill>
                  <a:schemeClr val="accent1"/>
                </a:solidFill>
              </a:defRPr>
            </a:lvl4pPr>
            <a:lvl5pPr marL="1828800" indent="0">
              <a:buNone/>
              <a:defRPr sz="2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Presentation date</a:t>
            </a:r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F27C4E09-B9D2-3DC8-B196-8D5F4F72E39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539ECA-5BAE-4EA9-A408-88BD88CDCDC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137139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539ECA-5BAE-4EA9-A408-88BD88CDCDC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EEF36D1-C326-1B8D-20E3-3F75A4D3B0A4}"/>
              </a:ext>
            </a:extLst>
          </p:cNvPr>
          <p:cNvSpPr/>
          <p:nvPr userDrawn="1"/>
        </p:nvSpPr>
        <p:spPr>
          <a:xfrm>
            <a:off x="-4653" y="0"/>
            <a:ext cx="12192000" cy="11246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7927" y="152400"/>
            <a:ext cx="11651673" cy="972280"/>
          </a:xfr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lide 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CEE77C6A-5B4F-110C-DAA5-12EAC73891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29506" y="2713020"/>
            <a:ext cx="3356741" cy="713392"/>
          </a:xfrm>
        </p:spPr>
        <p:txBody>
          <a:bodyPr anchor="ctr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Item two</a:t>
            </a:r>
            <a:br>
              <a:rPr lang="en-US" dirty="0"/>
            </a:br>
            <a:r>
              <a:rPr lang="en-US" dirty="0"/>
              <a:t>(delete circle if not used)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3D2D933C-CF27-5BE9-7FDD-8B3B788944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29506" y="1812475"/>
            <a:ext cx="3356741" cy="713392"/>
          </a:xfrm>
        </p:spPr>
        <p:txBody>
          <a:bodyPr anchor="ctr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Item one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F5B0CF08-F077-BEA6-F7C4-1A7BD46BB3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37373" y="1812475"/>
            <a:ext cx="713232" cy="713232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31" name="Text Placeholder 23">
            <a:extLst>
              <a:ext uri="{FF2B5EF4-FFF2-40B4-BE49-F238E27FC236}">
                <a16:creationId xmlns:a16="http://schemas.microsoft.com/office/drawing/2014/main" id="{0D3D952F-E3F1-7D14-D501-193EBCE5CF2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37213" y="2713021"/>
            <a:ext cx="713232" cy="713232"/>
          </a:xfrm>
          <a:prstGeom prst="ellipse">
            <a:avLst/>
          </a:prstGeom>
          <a:solidFill>
            <a:schemeClr val="accent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32" name="Text Placeholder 23">
            <a:extLst>
              <a:ext uri="{FF2B5EF4-FFF2-40B4-BE49-F238E27FC236}">
                <a16:creationId xmlns:a16="http://schemas.microsoft.com/office/drawing/2014/main" id="{61D98F84-2DE9-DB1A-D7D8-612F293842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37373" y="3613566"/>
            <a:ext cx="713232" cy="713232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33" name="Text Placeholder 23">
            <a:extLst>
              <a:ext uri="{FF2B5EF4-FFF2-40B4-BE49-F238E27FC236}">
                <a16:creationId xmlns:a16="http://schemas.microsoft.com/office/drawing/2014/main" id="{77EABE73-5E85-2938-8063-5C944396A3B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37213" y="4514112"/>
            <a:ext cx="713232" cy="713232"/>
          </a:xfrm>
          <a:prstGeom prst="ellipse">
            <a:avLst/>
          </a:prstGeom>
          <a:solidFill>
            <a:schemeClr val="accent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35" name="Text Placeholder 23">
            <a:extLst>
              <a:ext uri="{FF2B5EF4-FFF2-40B4-BE49-F238E27FC236}">
                <a16:creationId xmlns:a16="http://schemas.microsoft.com/office/drawing/2014/main" id="{F713A6F4-E804-BFBB-29C5-96734E2D4BB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29506" y="3613565"/>
            <a:ext cx="3356741" cy="713392"/>
          </a:xfrm>
        </p:spPr>
        <p:txBody>
          <a:bodyPr anchor="ctr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Item three</a:t>
            </a:r>
            <a:br>
              <a:rPr lang="en-US" dirty="0"/>
            </a:br>
            <a:r>
              <a:rPr lang="en-US" dirty="0"/>
              <a:t>(delete circle if not used)</a:t>
            </a:r>
          </a:p>
        </p:txBody>
      </p:sp>
      <p:sp>
        <p:nvSpPr>
          <p:cNvPr id="36" name="Text Placeholder 23">
            <a:extLst>
              <a:ext uri="{FF2B5EF4-FFF2-40B4-BE49-F238E27FC236}">
                <a16:creationId xmlns:a16="http://schemas.microsoft.com/office/drawing/2014/main" id="{FD2B4B56-80A4-7A3D-2086-295A73B2BA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229506" y="4514110"/>
            <a:ext cx="3356741" cy="713392"/>
          </a:xfrm>
        </p:spPr>
        <p:txBody>
          <a:bodyPr anchor="ctr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Item four</a:t>
            </a:r>
            <a:br>
              <a:rPr lang="en-US" dirty="0"/>
            </a:br>
            <a:r>
              <a:rPr lang="en-US" dirty="0"/>
              <a:t>(delete circle if not used)</a:t>
            </a:r>
          </a:p>
        </p:txBody>
      </p:sp>
      <p:sp>
        <p:nvSpPr>
          <p:cNvPr id="38" name="Text Placeholder 23">
            <a:extLst>
              <a:ext uri="{FF2B5EF4-FFF2-40B4-BE49-F238E27FC236}">
                <a16:creationId xmlns:a16="http://schemas.microsoft.com/office/drawing/2014/main" id="{C0F074CB-1EF5-8312-5A9F-A512AFCAE51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411106" y="2713020"/>
            <a:ext cx="3356741" cy="713392"/>
          </a:xfrm>
        </p:spPr>
        <p:txBody>
          <a:bodyPr anchor="ctr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Item six</a:t>
            </a:r>
            <a:br>
              <a:rPr lang="en-US" dirty="0"/>
            </a:br>
            <a:r>
              <a:rPr lang="en-US" dirty="0"/>
              <a:t>(delete circle if not used)</a:t>
            </a:r>
          </a:p>
        </p:txBody>
      </p:sp>
      <p:sp>
        <p:nvSpPr>
          <p:cNvPr id="39" name="Text Placeholder 23">
            <a:extLst>
              <a:ext uri="{FF2B5EF4-FFF2-40B4-BE49-F238E27FC236}">
                <a16:creationId xmlns:a16="http://schemas.microsoft.com/office/drawing/2014/main" id="{30D94A72-CFDB-D762-E5E6-E1B49E7FAE8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11106" y="1812475"/>
            <a:ext cx="3356741" cy="713392"/>
          </a:xfrm>
        </p:spPr>
        <p:txBody>
          <a:bodyPr anchor="ctr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Item five</a:t>
            </a:r>
            <a:br>
              <a:rPr lang="en-US" dirty="0"/>
            </a:br>
            <a:r>
              <a:rPr lang="en-US" dirty="0"/>
              <a:t>(delete circle if not used)</a:t>
            </a:r>
          </a:p>
        </p:txBody>
      </p:sp>
      <p:sp>
        <p:nvSpPr>
          <p:cNvPr id="40" name="Text Placeholder 23">
            <a:extLst>
              <a:ext uri="{FF2B5EF4-FFF2-40B4-BE49-F238E27FC236}">
                <a16:creationId xmlns:a16="http://schemas.microsoft.com/office/drawing/2014/main" id="{EF109113-FFC3-7373-0B56-35459954554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618973" y="1812475"/>
            <a:ext cx="713232" cy="713232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41" name="Text Placeholder 23">
            <a:extLst>
              <a:ext uri="{FF2B5EF4-FFF2-40B4-BE49-F238E27FC236}">
                <a16:creationId xmlns:a16="http://schemas.microsoft.com/office/drawing/2014/main" id="{94FA5B11-4179-0DA1-DE3A-EFD07AAC6BF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618813" y="2713021"/>
            <a:ext cx="713232" cy="713232"/>
          </a:xfrm>
          <a:prstGeom prst="ellipse">
            <a:avLst/>
          </a:prstGeom>
          <a:solidFill>
            <a:schemeClr val="accent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42" name="Text Placeholder 23">
            <a:extLst>
              <a:ext uri="{FF2B5EF4-FFF2-40B4-BE49-F238E27FC236}">
                <a16:creationId xmlns:a16="http://schemas.microsoft.com/office/drawing/2014/main" id="{C0319DA1-A125-878E-853F-EFBC08E19BD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18973" y="3613566"/>
            <a:ext cx="713232" cy="713232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43" name="Text Placeholder 23">
            <a:extLst>
              <a:ext uri="{FF2B5EF4-FFF2-40B4-BE49-F238E27FC236}">
                <a16:creationId xmlns:a16="http://schemas.microsoft.com/office/drawing/2014/main" id="{704C7C46-9AF5-9589-53A7-5AD5A312032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618813" y="4514112"/>
            <a:ext cx="713232" cy="713232"/>
          </a:xfrm>
          <a:prstGeom prst="ellipse">
            <a:avLst/>
          </a:prstGeom>
          <a:solidFill>
            <a:schemeClr val="accent2"/>
          </a:solidFill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8</a:t>
            </a:r>
          </a:p>
        </p:txBody>
      </p:sp>
      <p:sp>
        <p:nvSpPr>
          <p:cNvPr id="44" name="Text Placeholder 23">
            <a:extLst>
              <a:ext uri="{FF2B5EF4-FFF2-40B4-BE49-F238E27FC236}">
                <a16:creationId xmlns:a16="http://schemas.microsoft.com/office/drawing/2014/main" id="{C4178023-E5C4-C119-EB5D-129C1D967E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411106" y="3613565"/>
            <a:ext cx="3356741" cy="713392"/>
          </a:xfrm>
        </p:spPr>
        <p:txBody>
          <a:bodyPr anchor="ctr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Item seven</a:t>
            </a:r>
            <a:br>
              <a:rPr lang="en-US" dirty="0"/>
            </a:br>
            <a:r>
              <a:rPr lang="en-US" dirty="0"/>
              <a:t>(delete circle if not used)</a:t>
            </a:r>
          </a:p>
        </p:txBody>
      </p:sp>
      <p:sp>
        <p:nvSpPr>
          <p:cNvPr id="45" name="Text Placeholder 23">
            <a:extLst>
              <a:ext uri="{FF2B5EF4-FFF2-40B4-BE49-F238E27FC236}">
                <a16:creationId xmlns:a16="http://schemas.microsoft.com/office/drawing/2014/main" id="{2AB5631B-44CA-DE15-8D13-273625E1C86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411106" y="4514110"/>
            <a:ext cx="3356741" cy="713392"/>
          </a:xfrm>
        </p:spPr>
        <p:txBody>
          <a:bodyPr anchor="ctr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Item eight</a:t>
            </a:r>
            <a:br>
              <a:rPr lang="en-US" dirty="0"/>
            </a:br>
            <a:r>
              <a:rPr lang="en-US" dirty="0"/>
              <a:t>(delete circle if not used)</a:t>
            </a:r>
          </a:p>
        </p:txBody>
      </p:sp>
    </p:spTree>
    <p:extLst>
      <p:ext uri="{BB962C8B-B14F-4D97-AF65-F5344CB8AC3E}">
        <p14:creationId xmlns:p14="http://schemas.microsoft.com/office/powerpoint/2010/main" val="148952347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436128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1850" y="3174799"/>
            <a:ext cx="10515600" cy="1387676"/>
          </a:xfrm>
        </p:spPr>
        <p:txBody>
          <a:bodyPr anchor="t">
            <a:norm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New Section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539ECA-5BAE-4EA9-A408-88BD88CDCDCD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A blue and black logo&#10;&#10;Description automatically generated">
            <a:extLst>
              <a:ext uri="{FF2B5EF4-FFF2-40B4-BE49-F238E27FC236}">
                <a16:creationId xmlns:a16="http://schemas.microsoft.com/office/drawing/2014/main" id="{AB5DA583-BD97-FB3D-F706-FF090FB28C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133" y="1229205"/>
            <a:ext cx="2681206" cy="1945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929387"/>
      </p:ext>
    </p:extLst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539ECA-5BAE-4EA9-A408-88BD88CDCDC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EEF36D1-C326-1B8D-20E3-3F75A4D3B0A4}"/>
              </a:ext>
            </a:extLst>
          </p:cNvPr>
          <p:cNvSpPr/>
          <p:nvPr userDrawn="1"/>
        </p:nvSpPr>
        <p:spPr>
          <a:xfrm>
            <a:off x="-4653" y="0"/>
            <a:ext cx="12192000" cy="11246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7927" y="152400"/>
            <a:ext cx="11651673" cy="972280"/>
          </a:xfr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lide title</a:t>
            </a:r>
          </a:p>
        </p:txBody>
      </p:sp>
    </p:spTree>
    <p:extLst>
      <p:ext uri="{BB962C8B-B14F-4D97-AF65-F5344CB8AC3E}">
        <p14:creationId xmlns:p14="http://schemas.microsoft.com/office/powerpoint/2010/main" val="294449289"/>
      </p:ext>
    </p:extLst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539ECA-5BAE-4EA9-A408-88BD88CDCDC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EEF36D1-C326-1B8D-20E3-3F75A4D3B0A4}"/>
              </a:ext>
            </a:extLst>
          </p:cNvPr>
          <p:cNvSpPr/>
          <p:nvPr userDrawn="1"/>
        </p:nvSpPr>
        <p:spPr>
          <a:xfrm>
            <a:off x="-4653" y="0"/>
            <a:ext cx="12192000" cy="11246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7927" y="152400"/>
            <a:ext cx="11651673" cy="972280"/>
          </a:xfr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lide tit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886ED60-66A6-A01A-F133-63C594AA64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95400" y="1603563"/>
            <a:ext cx="2400300" cy="137149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54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5400">
                <a:solidFill>
                  <a:schemeClr val="bg1"/>
                </a:solidFill>
              </a:defRPr>
            </a:lvl2pPr>
            <a:lvl3pPr marL="914400" indent="0">
              <a:buNone/>
              <a:defRPr sz="5400">
                <a:solidFill>
                  <a:schemeClr val="bg1"/>
                </a:solidFill>
              </a:defRPr>
            </a:lvl3pPr>
            <a:lvl4pPr marL="1371600" indent="0">
              <a:buNone/>
              <a:defRPr sz="5400">
                <a:solidFill>
                  <a:schemeClr val="bg1"/>
                </a:solidFill>
              </a:defRPr>
            </a:lvl4pPr>
            <a:lvl5pPr marL="1828800" indent="0">
              <a:buNone/>
              <a:defRPr sz="5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##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B9AE2567-7607-DB07-815A-011F843D76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95700" y="1603508"/>
            <a:ext cx="7200900" cy="1371600"/>
          </a:xfrm>
          <a:solidFill>
            <a:schemeClr val="accent3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540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5400">
                <a:solidFill>
                  <a:schemeClr val="bg1"/>
                </a:solidFill>
              </a:defRPr>
            </a:lvl2pPr>
            <a:lvl3pPr marL="914400" indent="0">
              <a:buNone/>
              <a:defRPr sz="5400">
                <a:solidFill>
                  <a:schemeClr val="bg1"/>
                </a:solidFill>
              </a:defRPr>
            </a:lvl3pPr>
            <a:lvl4pPr marL="1371600" indent="0">
              <a:buNone/>
              <a:defRPr sz="5400">
                <a:solidFill>
                  <a:schemeClr val="bg1"/>
                </a:solidFill>
              </a:defRPr>
            </a:lvl4pPr>
            <a:lvl5pPr marL="1828800" indent="0">
              <a:buNone/>
              <a:defRPr sz="5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###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D5E36C97-E7D1-2123-5A62-C555D0C064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95400" y="2971965"/>
            <a:ext cx="9601200" cy="1371490"/>
          </a:xfrm>
          <a:solidFill>
            <a:schemeClr val="accent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54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5400">
                <a:solidFill>
                  <a:schemeClr val="bg1"/>
                </a:solidFill>
              </a:defRPr>
            </a:lvl2pPr>
            <a:lvl3pPr marL="914400" indent="0">
              <a:buNone/>
              <a:defRPr sz="5400">
                <a:solidFill>
                  <a:schemeClr val="bg1"/>
                </a:solidFill>
              </a:defRPr>
            </a:lvl3pPr>
            <a:lvl4pPr marL="1371600" indent="0">
              <a:buNone/>
              <a:defRPr sz="5400">
                <a:solidFill>
                  <a:schemeClr val="bg1"/>
                </a:solidFill>
              </a:defRPr>
            </a:lvl4pPr>
            <a:lvl5pPr marL="1828800" indent="0">
              <a:buNone/>
              <a:defRPr sz="5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##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5246AF6E-E9A3-7C85-DE61-77D9D41C01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4343510"/>
            <a:ext cx="4800600" cy="137149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54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5400">
                <a:solidFill>
                  <a:schemeClr val="bg1"/>
                </a:solidFill>
              </a:defRPr>
            </a:lvl2pPr>
            <a:lvl3pPr marL="914400" indent="0">
              <a:buNone/>
              <a:defRPr sz="5400">
                <a:solidFill>
                  <a:schemeClr val="bg1"/>
                </a:solidFill>
              </a:defRPr>
            </a:lvl3pPr>
            <a:lvl4pPr marL="1371600" indent="0">
              <a:buNone/>
              <a:defRPr sz="5400">
                <a:solidFill>
                  <a:schemeClr val="bg1"/>
                </a:solidFill>
              </a:defRPr>
            </a:lvl4pPr>
            <a:lvl5pPr marL="1828800" indent="0">
              <a:buNone/>
              <a:defRPr sz="5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##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10F3DB4A-FF87-1538-6E0E-16EFF4A33E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95400" y="4343455"/>
            <a:ext cx="4800600" cy="1371600"/>
          </a:xfrm>
          <a:solidFill>
            <a:schemeClr val="accent3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540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5400">
                <a:solidFill>
                  <a:schemeClr val="bg1"/>
                </a:solidFill>
              </a:defRPr>
            </a:lvl2pPr>
            <a:lvl3pPr marL="914400" indent="0">
              <a:buNone/>
              <a:defRPr sz="5400">
                <a:solidFill>
                  <a:schemeClr val="bg1"/>
                </a:solidFill>
              </a:defRPr>
            </a:lvl3pPr>
            <a:lvl4pPr marL="1371600" indent="0">
              <a:buNone/>
              <a:defRPr sz="5400">
                <a:solidFill>
                  <a:schemeClr val="bg1"/>
                </a:solidFill>
              </a:defRPr>
            </a:lvl4pPr>
            <a:lvl5pPr marL="1828800" indent="0">
              <a:buNone/>
              <a:defRPr sz="5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###</a:t>
            </a:r>
          </a:p>
        </p:txBody>
      </p:sp>
    </p:spTree>
    <p:extLst>
      <p:ext uri="{BB962C8B-B14F-4D97-AF65-F5344CB8AC3E}">
        <p14:creationId xmlns:p14="http://schemas.microsoft.com/office/powerpoint/2010/main" val="41929379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16" userDrawn="1">
          <p15:clr>
            <a:srgbClr val="FBAE40"/>
          </p15:clr>
        </p15:guide>
        <p15:guide id="2" pos="2328" userDrawn="1">
          <p15:clr>
            <a:srgbClr val="FBAE40"/>
          </p15:clr>
        </p15:guide>
        <p15:guide id="3" pos="5352" userDrawn="1">
          <p15:clr>
            <a:srgbClr val="FBAE40"/>
          </p15:clr>
        </p15:guide>
        <p15:guide id="4" pos="6864" userDrawn="1">
          <p15:clr>
            <a:srgbClr val="FBAE40"/>
          </p15:clr>
        </p15:guide>
        <p15:guide id="5" orient="horz" pos="1008" userDrawn="1">
          <p15:clr>
            <a:srgbClr val="FBAE40"/>
          </p15:clr>
        </p15:guide>
        <p15:guide id="6" orient="horz" pos="3600" userDrawn="1">
          <p15:clr>
            <a:srgbClr val="FBAE40"/>
          </p15:clr>
        </p15:guide>
        <p15:guide id="7" orient="horz" pos="1872" userDrawn="1">
          <p15:clr>
            <a:srgbClr val="FBAE40"/>
          </p15:clr>
        </p15:guide>
        <p15:guide id="8" orient="horz" pos="2736" userDrawn="1">
          <p15:clr>
            <a:srgbClr val="FBAE40"/>
          </p15:clr>
        </p15:guide>
      </p15:sldGuideLst>
    </p:ext>
  </p:extLst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539ECA-5BAE-4EA9-A408-88BD88CDCDC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EEF36D1-C326-1B8D-20E3-3F75A4D3B0A4}"/>
              </a:ext>
            </a:extLst>
          </p:cNvPr>
          <p:cNvSpPr/>
          <p:nvPr userDrawn="1"/>
        </p:nvSpPr>
        <p:spPr>
          <a:xfrm>
            <a:off x="-4653" y="0"/>
            <a:ext cx="12192000" cy="11246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7927" y="152400"/>
            <a:ext cx="11651673" cy="972280"/>
          </a:xfr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lide tit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3FBC8AD-DFE9-C27D-96AC-F9C740320427}"/>
              </a:ext>
            </a:extLst>
          </p:cNvPr>
          <p:cNvCxnSpPr>
            <a:cxnSpLocks/>
          </p:cNvCxnSpPr>
          <p:nvPr userDrawn="1"/>
        </p:nvCxnSpPr>
        <p:spPr>
          <a:xfrm>
            <a:off x="766527" y="2215472"/>
            <a:ext cx="10651138" cy="28247"/>
          </a:xfrm>
          <a:prstGeom prst="line">
            <a:avLst/>
          </a:prstGeom>
          <a:ln w="66675">
            <a:solidFill>
              <a:srgbClr val="FFCF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id="{C71A54B0-ECCC-2012-0BE5-5EBC91F5D433}"/>
              </a:ext>
            </a:extLst>
          </p:cNvPr>
          <p:cNvSpPr/>
          <p:nvPr userDrawn="1"/>
        </p:nvSpPr>
        <p:spPr>
          <a:xfrm>
            <a:off x="633234" y="2083389"/>
            <a:ext cx="266586" cy="266586"/>
          </a:xfrm>
          <a:prstGeom prst="ellipse">
            <a:avLst/>
          </a:prstGeom>
          <a:solidFill>
            <a:srgbClr val="FFCF3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D2C133E-3244-2BF1-AB16-D2BFE53D0298}"/>
              </a:ext>
            </a:extLst>
          </p:cNvPr>
          <p:cNvSpPr/>
          <p:nvPr userDrawn="1"/>
        </p:nvSpPr>
        <p:spPr>
          <a:xfrm>
            <a:off x="11284372" y="2110426"/>
            <a:ext cx="266586" cy="266586"/>
          </a:xfrm>
          <a:prstGeom prst="ellipse">
            <a:avLst/>
          </a:prstGeom>
          <a:solidFill>
            <a:srgbClr val="FFCF3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25A4DCE7-1446-C1E5-3DD7-D75F678A861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93075" y="1717953"/>
            <a:ext cx="1887677" cy="995037"/>
          </a:xfrm>
          <a:prstGeom prst="roundRect">
            <a:avLst/>
          </a:prstGeom>
          <a:solidFill>
            <a:schemeClr val="accent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1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6574F122-8070-4120-4CC6-86F45DA6B0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20272" y="1717953"/>
            <a:ext cx="1887677" cy="995037"/>
          </a:xfrm>
          <a:prstGeom prst="roundRect">
            <a:avLst/>
          </a:prstGeom>
          <a:solidFill>
            <a:schemeClr val="accent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1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324C004B-8799-EF3D-7CF9-6E2FE8B790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47469" y="1717953"/>
            <a:ext cx="1887677" cy="995037"/>
          </a:xfrm>
          <a:prstGeom prst="roundRect">
            <a:avLst/>
          </a:prstGeom>
          <a:solidFill>
            <a:schemeClr val="accent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1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B8728044-1095-3FF8-7C51-3627C82A45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74666" y="1717953"/>
            <a:ext cx="1887677" cy="995037"/>
          </a:xfrm>
          <a:prstGeom prst="roundRect">
            <a:avLst/>
          </a:prstGeom>
          <a:solidFill>
            <a:schemeClr val="accent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1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id="{83F2497B-5A04-2887-10D8-B5936852CC7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201864" y="1717953"/>
            <a:ext cx="1887677" cy="995037"/>
          </a:xfrm>
          <a:prstGeom prst="roundRect">
            <a:avLst/>
          </a:prstGeom>
          <a:solidFill>
            <a:schemeClr val="accent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ct val="11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77D25AB-C21D-E58A-331C-55FCC098089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95564" y="3083767"/>
            <a:ext cx="8107315" cy="1201738"/>
          </a:xfrm>
        </p:spPr>
        <p:txBody>
          <a:bodyPr/>
          <a:lstStyle>
            <a:lvl1pPr marL="0" indent="0" algn="ctr">
              <a:lnSpc>
                <a:spcPct val="110000"/>
              </a:lnSpc>
              <a:buNone/>
              <a:defRPr>
                <a:solidFill>
                  <a:schemeClr val="tx1"/>
                </a:solidFill>
              </a:defRPr>
            </a:lvl1pPr>
          </a:lstStyle>
          <a:p>
            <a:pPr marL="228600" marR="0" lvl="0" indent="-22860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t>Click to add context here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F37D2490-481C-6B52-D3F1-1FAC714FCF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24500" y="4377665"/>
            <a:ext cx="1729998" cy="35419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</a:lstStyle>
          <a:p>
            <a:pPr lvl="0"/>
            <a:r>
              <a:rPr lang="en-US" dirty="0"/>
              <a:t>Add header</a:t>
            </a:r>
          </a:p>
        </p:txBody>
      </p:sp>
      <p:sp>
        <p:nvSpPr>
          <p:cNvPr id="31" name="Text Placeholder 29">
            <a:extLst>
              <a:ext uri="{FF2B5EF4-FFF2-40B4-BE49-F238E27FC236}">
                <a16:creationId xmlns:a16="http://schemas.microsoft.com/office/drawing/2014/main" id="{841DF24A-CA61-74FC-5645-F5BA50AC97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24499" y="4773218"/>
            <a:ext cx="1729999" cy="749320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</a:lstStyle>
          <a:p>
            <a:pPr lvl="0"/>
            <a:r>
              <a:rPr lang="en-US" dirty="0"/>
              <a:t>Click to add context</a:t>
            </a:r>
          </a:p>
        </p:txBody>
      </p:sp>
      <p:sp>
        <p:nvSpPr>
          <p:cNvPr id="38" name="Text Placeholder 29">
            <a:extLst>
              <a:ext uri="{FF2B5EF4-FFF2-40B4-BE49-F238E27FC236}">
                <a16:creationId xmlns:a16="http://schemas.microsoft.com/office/drawing/2014/main" id="{F494BA4B-33C5-BFFB-515F-377182F4D9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77750" y="4377665"/>
            <a:ext cx="1729998" cy="35419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</a:lstStyle>
          <a:p>
            <a:pPr lvl="0"/>
            <a:r>
              <a:rPr lang="en-US" dirty="0"/>
              <a:t>Add header</a:t>
            </a:r>
          </a:p>
        </p:txBody>
      </p:sp>
      <p:sp>
        <p:nvSpPr>
          <p:cNvPr id="39" name="Text Placeholder 29">
            <a:extLst>
              <a:ext uri="{FF2B5EF4-FFF2-40B4-BE49-F238E27FC236}">
                <a16:creationId xmlns:a16="http://schemas.microsoft.com/office/drawing/2014/main" id="{E9EAB907-0427-3588-17CA-087472A29A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77749" y="4773218"/>
            <a:ext cx="1729999" cy="749320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</a:lstStyle>
          <a:p>
            <a:pPr lvl="0"/>
            <a:r>
              <a:rPr lang="en-US" dirty="0"/>
              <a:t>Click to add context</a:t>
            </a:r>
          </a:p>
        </p:txBody>
      </p:sp>
      <p:sp>
        <p:nvSpPr>
          <p:cNvPr id="40" name="Text Placeholder 29">
            <a:extLst>
              <a:ext uri="{FF2B5EF4-FFF2-40B4-BE49-F238E27FC236}">
                <a16:creationId xmlns:a16="http://schemas.microsoft.com/office/drawing/2014/main" id="{EE2CD336-83E8-E58F-043B-F368D7E2B34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231000" y="4377665"/>
            <a:ext cx="1729998" cy="35419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</a:lstStyle>
          <a:p>
            <a:pPr lvl="0"/>
            <a:r>
              <a:rPr lang="en-US" dirty="0"/>
              <a:t>Add header</a:t>
            </a:r>
          </a:p>
        </p:txBody>
      </p:sp>
      <p:sp>
        <p:nvSpPr>
          <p:cNvPr id="41" name="Text Placeholder 29">
            <a:extLst>
              <a:ext uri="{FF2B5EF4-FFF2-40B4-BE49-F238E27FC236}">
                <a16:creationId xmlns:a16="http://schemas.microsoft.com/office/drawing/2014/main" id="{28C25B43-29BD-245F-D008-A15998021B3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230999" y="4773218"/>
            <a:ext cx="1729999" cy="749320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</a:lstStyle>
          <a:p>
            <a:pPr lvl="0"/>
            <a:r>
              <a:rPr lang="en-US" dirty="0"/>
              <a:t>Click to add context</a:t>
            </a:r>
          </a:p>
        </p:txBody>
      </p:sp>
      <p:sp>
        <p:nvSpPr>
          <p:cNvPr id="42" name="Text Placeholder 29">
            <a:extLst>
              <a:ext uri="{FF2B5EF4-FFF2-40B4-BE49-F238E27FC236}">
                <a16:creationId xmlns:a16="http://schemas.microsoft.com/office/drawing/2014/main" id="{718CA967-1020-0CEB-264D-059E3B8FF8D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84251" y="4377665"/>
            <a:ext cx="1729998" cy="35419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</a:lstStyle>
          <a:p>
            <a:pPr lvl="0"/>
            <a:r>
              <a:rPr lang="en-US" dirty="0"/>
              <a:t>Add header</a:t>
            </a:r>
          </a:p>
        </p:txBody>
      </p:sp>
      <p:sp>
        <p:nvSpPr>
          <p:cNvPr id="43" name="Text Placeholder 29">
            <a:extLst>
              <a:ext uri="{FF2B5EF4-FFF2-40B4-BE49-F238E27FC236}">
                <a16:creationId xmlns:a16="http://schemas.microsoft.com/office/drawing/2014/main" id="{382D6662-5384-B3F2-6026-68FFB725B53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84250" y="4773218"/>
            <a:ext cx="1729999" cy="749320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</a:lstStyle>
          <a:p>
            <a:pPr lvl="0"/>
            <a:r>
              <a:rPr lang="en-US" dirty="0"/>
              <a:t>Click to add context</a:t>
            </a:r>
          </a:p>
        </p:txBody>
      </p:sp>
      <p:sp>
        <p:nvSpPr>
          <p:cNvPr id="44" name="Text Placeholder 29">
            <a:extLst>
              <a:ext uri="{FF2B5EF4-FFF2-40B4-BE49-F238E27FC236}">
                <a16:creationId xmlns:a16="http://schemas.microsoft.com/office/drawing/2014/main" id="{10508C5E-FB86-72B7-268E-F50F506368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37502" y="4377665"/>
            <a:ext cx="1729998" cy="35419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</a:lstStyle>
          <a:p>
            <a:pPr lvl="0"/>
            <a:r>
              <a:rPr lang="en-US" dirty="0"/>
              <a:t>Add header</a:t>
            </a:r>
          </a:p>
        </p:txBody>
      </p:sp>
      <p:sp>
        <p:nvSpPr>
          <p:cNvPr id="45" name="Text Placeholder 29">
            <a:extLst>
              <a:ext uri="{FF2B5EF4-FFF2-40B4-BE49-F238E27FC236}">
                <a16:creationId xmlns:a16="http://schemas.microsoft.com/office/drawing/2014/main" id="{AF354FEF-365A-E91F-D44C-70E3E00179E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7501" y="4773218"/>
            <a:ext cx="1729999" cy="749320"/>
          </a:xfrm>
        </p:spPr>
        <p:txBody>
          <a:bodyPr>
            <a:noAutofit/>
          </a:bodyPr>
          <a:lstStyle>
            <a:lvl1pPr marL="0" indent="0">
              <a:lnSpc>
                <a:spcPct val="110000"/>
              </a:lnSpc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</a:lstStyle>
          <a:p>
            <a:pPr lvl="0"/>
            <a:r>
              <a:rPr lang="en-US" dirty="0"/>
              <a:t>Click to add context</a:t>
            </a:r>
          </a:p>
        </p:txBody>
      </p:sp>
    </p:spTree>
    <p:extLst>
      <p:ext uri="{BB962C8B-B14F-4D97-AF65-F5344CB8AC3E}">
        <p14:creationId xmlns:p14="http://schemas.microsoft.com/office/powerpoint/2010/main" val="247651827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ipty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539ECA-5BAE-4EA9-A408-88BD88CDCDC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EEF36D1-C326-1B8D-20E3-3F75A4D3B0A4}"/>
              </a:ext>
            </a:extLst>
          </p:cNvPr>
          <p:cNvSpPr/>
          <p:nvPr userDrawn="1"/>
        </p:nvSpPr>
        <p:spPr>
          <a:xfrm>
            <a:off x="-4653" y="0"/>
            <a:ext cx="12192000" cy="11246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7927" y="152400"/>
            <a:ext cx="11651673" cy="972280"/>
          </a:xfr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lide title</a:t>
            </a:r>
          </a:p>
        </p:txBody>
      </p:sp>
      <p:sp>
        <p:nvSpPr>
          <p:cNvPr id="3" name="Rectangle: Rounded Corners 9">
            <a:extLst>
              <a:ext uri="{FF2B5EF4-FFF2-40B4-BE49-F238E27FC236}">
                <a16:creationId xmlns:a16="http://schemas.microsoft.com/office/drawing/2014/main" id="{8F6CFED4-3F11-D45B-48A7-36D9AFC38875}"/>
              </a:ext>
            </a:extLst>
          </p:cNvPr>
          <p:cNvSpPr/>
          <p:nvPr userDrawn="1"/>
        </p:nvSpPr>
        <p:spPr>
          <a:xfrm>
            <a:off x="1260620" y="1748087"/>
            <a:ext cx="3067287" cy="3913322"/>
          </a:xfrm>
          <a:prstGeom prst="roundRect">
            <a:avLst/>
          </a:prstGeom>
          <a:solidFill>
            <a:srgbClr val="E1F5F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08E70E7-32EF-B2A6-D150-2AA0F2F218B2}"/>
              </a:ext>
            </a:extLst>
          </p:cNvPr>
          <p:cNvSpPr/>
          <p:nvPr userDrawn="1"/>
        </p:nvSpPr>
        <p:spPr>
          <a:xfrm>
            <a:off x="4582940" y="1748087"/>
            <a:ext cx="3067287" cy="3913322"/>
          </a:xfrm>
          <a:prstGeom prst="roundRect">
            <a:avLst/>
          </a:prstGeom>
          <a:solidFill>
            <a:srgbClr val="E1F5F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: Rounded Corners 19">
            <a:extLst>
              <a:ext uri="{FF2B5EF4-FFF2-40B4-BE49-F238E27FC236}">
                <a16:creationId xmlns:a16="http://schemas.microsoft.com/office/drawing/2014/main" id="{B6AE9E41-7A09-ED46-8720-8CCE53ED05FD}"/>
              </a:ext>
            </a:extLst>
          </p:cNvPr>
          <p:cNvSpPr/>
          <p:nvPr userDrawn="1"/>
        </p:nvSpPr>
        <p:spPr>
          <a:xfrm>
            <a:off x="7905260" y="1748087"/>
            <a:ext cx="3067287" cy="3913322"/>
          </a:xfrm>
          <a:prstGeom prst="roundRect">
            <a:avLst/>
          </a:prstGeom>
          <a:solidFill>
            <a:srgbClr val="E1F5F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F05BDB16-8CE3-9D3C-B1FD-79AF5D9BDFD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331629" y="2113455"/>
            <a:ext cx="925268" cy="925268"/>
          </a:xfrm>
          <a:prstGeom prst="ellipse">
            <a:avLst/>
          </a:prstGeo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E6440F7-960A-A407-4A04-BF72CC46A20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0617" y="3154374"/>
            <a:ext cx="3067290" cy="507756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  <a:lvl2pPr>
              <a:defRPr sz="2400">
                <a:solidFill>
                  <a:schemeClr val="accent1"/>
                </a:solidFill>
              </a:defRPr>
            </a:lvl2pPr>
            <a:lvl3pPr>
              <a:defRPr sz="2400">
                <a:solidFill>
                  <a:schemeClr val="accent1"/>
                </a:solidFill>
              </a:defRPr>
            </a:lvl3pPr>
            <a:lvl4pPr>
              <a:defRPr sz="2400">
                <a:solidFill>
                  <a:schemeClr val="accent1"/>
                </a:solidFill>
              </a:defRPr>
            </a:lvl4pPr>
            <a:lvl5pPr>
              <a:defRPr sz="2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9621841-7D1E-57D9-5459-801840209D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0617" y="3662129"/>
            <a:ext cx="3067286" cy="1999279"/>
          </a:xfrm>
        </p:spPr>
        <p:txBody>
          <a:bodyPr lIns="182880" tIns="0" rIns="182880" bIns="182880">
            <a:normAutofit/>
          </a:bodyPr>
          <a:lstStyle>
            <a:lvl1pPr marL="0" indent="0" algn="ctr">
              <a:lnSpc>
                <a:spcPct val="110000"/>
              </a:lnSpc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context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0B45F495-785B-D35C-E654-347E2BD23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86824" y="3154374"/>
            <a:ext cx="3067290" cy="507756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  <a:lvl2pPr>
              <a:defRPr sz="2400">
                <a:solidFill>
                  <a:schemeClr val="accent1"/>
                </a:solidFill>
              </a:defRPr>
            </a:lvl2pPr>
            <a:lvl3pPr>
              <a:defRPr sz="2400">
                <a:solidFill>
                  <a:schemeClr val="accent1"/>
                </a:solidFill>
              </a:defRPr>
            </a:lvl3pPr>
            <a:lvl4pPr>
              <a:defRPr sz="2400">
                <a:solidFill>
                  <a:schemeClr val="accent1"/>
                </a:solidFill>
              </a:defRPr>
            </a:lvl4pPr>
            <a:lvl5pPr>
              <a:defRPr sz="2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C05647DF-2740-8CB9-087B-26B704EB4B0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86824" y="3662129"/>
            <a:ext cx="3067286" cy="1999279"/>
          </a:xfrm>
        </p:spPr>
        <p:txBody>
          <a:bodyPr lIns="182880" tIns="0" rIns="182880" bIns="182880">
            <a:normAutofit/>
          </a:bodyPr>
          <a:lstStyle>
            <a:lvl1pPr marL="0" indent="0" algn="ctr">
              <a:lnSpc>
                <a:spcPct val="110000"/>
              </a:lnSpc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context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106F62C6-6B1F-6F02-A554-EFC9F0159B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06894" y="3154374"/>
            <a:ext cx="3067290" cy="507756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  <a:lvl2pPr>
              <a:defRPr sz="2400">
                <a:solidFill>
                  <a:schemeClr val="accent1"/>
                </a:solidFill>
              </a:defRPr>
            </a:lvl2pPr>
            <a:lvl3pPr>
              <a:defRPr sz="2400">
                <a:solidFill>
                  <a:schemeClr val="accent1"/>
                </a:solidFill>
              </a:defRPr>
            </a:lvl3pPr>
            <a:lvl4pPr>
              <a:defRPr sz="2400">
                <a:solidFill>
                  <a:schemeClr val="accent1"/>
                </a:solidFill>
              </a:defRPr>
            </a:lvl4pPr>
            <a:lvl5pPr>
              <a:defRPr sz="2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41B2D19D-966B-F069-6363-82FD80F7E98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906894" y="3662129"/>
            <a:ext cx="3067286" cy="1999279"/>
          </a:xfrm>
        </p:spPr>
        <p:txBody>
          <a:bodyPr lIns="182880" tIns="0" rIns="182880" bIns="182880">
            <a:normAutofit/>
          </a:bodyPr>
          <a:lstStyle>
            <a:lvl1pPr marL="0" indent="0" algn="ctr">
              <a:lnSpc>
                <a:spcPct val="110000"/>
              </a:lnSpc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context</a:t>
            </a:r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F05BDB16-8CE3-9D3C-B1FD-79AF5D9BDFD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653949" y="2113454"/>
            <a:ext cx="925268" cy="925268"/>
          </a:xfrm>
          <a:prstGeom prst="ellipse">
            <a:avLst/>
          </a:prstGeo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4" name="Picture Placeholder 14">
            <a:extLst>
              <a:ext uri="{FF2B5EF4-FFF2-40B4-BE49-F238E27FC236}">
                <a16:creationId xmlns:a16="http://schemas.microsoft.com/office/drawing/2014/main" id="{F05BDB16-8CE3-9D3C-B1FD-79AF5D9BDFD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976269" y="2116024"/>
            <a:ext cx="925268" cy="925268"/>
          </a:xfrm>
          <a:prstGeom prst="ellipse">
            <a:avLst/>
          </a:prstGeo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994560096"/>
      </p:ext>
    </p:extLst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539ECA-5BAE-4EA9-A408-88BD88CDCDC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EEF36D1-C326-1B8D-20E3-3F75A4D3B0A4}"/>
              </a:ext>
            </a:extLst>
          </p:cNvPr>
          <p:cNvSpPr/>
          <p:nvPr userDrawn="1"/>
        </p:nvSpPr>
        <p:spPr>
          <a:xfrm>
            <a:off x="-4653" y="0"/>
            <a:ext cx="12192000" cy="11246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7927" y="152400"/>
            <a:ext cx="11651673" cy="972280"/>
          </a:xfr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lide title</a:t>
            </a:r>
          </a:p>
        </p:txBody>
      </p: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D8FE6969-5F79-89C5-5A02-20946A4BB02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121126" y="1914717"/>
            <a:ext cx="5940441" cy="3468772"/>
          </a:xfrm>
        </p:spPr>
        <p:txBody>
          <a:bodyPr anchor="t"/>
          <a:lstStyle>
            <a:lvl1pPr marL="287338" indent="-287338"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context bullets</a:t>
            </a:r>
          </a:p>
        </p:txBody>
      </p:sp>
    </p:spTree>
    <p:extLst>
      <p:ext uri="{BB962C8B-B14F-4D97-AF65-F5344CB8AC3E}">
        <p14:creationId xmlns:p14="http://schemas.microsoft.com/office/powerpoint/2010/main" val="2759505979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List +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539ECA-5BAE-4EA9-A408-88BD88CDCDC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EEF36D1-C326-1B8D-20E3-3F75A4D3B0A4}"/>
              </a:ext>
            </a:extLst>
          </p:cNvPr>
          <p:cNvSpPr/>
          <p:nvPr userDrawn="1"/>
        </p:nvSpPr>
        <p:spPr>
          <a:xfrm>
            <a:off x="-4653" y="0"/>
            <a:ext cx="12192000" cy="11246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7927" y="152400"/>
            <a:ext cx="11651673" cy="972280"/>
          </a:xfr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lide title</a:t>
            </a:r>
          </a:p>
        </p:txBody>
      </p:sp>
      <p:sp>
        <p:nvSpPr>
          <p:cNvPr id="4" name="Rectangle: Rounded Corners 6">
            <a:extLst>
              <a:ext uri="{FF2B5EF4-FFF2-40B4-BE49-F238E27FC236}">
                <a16:creationId xmlns:a16="http://schemas.microsoft.com/office/drawing/2014/main" id="{ED9A8333-9F45-795B-9231-0A3C24DE8652}"/>
              </a:ext>
            </a:extLst>
          </p:cNvPr>
          <p:cNvSpPr/>
          <p:nvPr userDrawn="1"/>
        </p:nvSpPr>
        <p:spPr>
          <a:xfrm>
            <a:off x="1346322" y="1587930"/>
            <a:ext cx="1411549" cy="2006354"/>
          </a:xfrm>
          <a:prstGeom prst="roundRect">
            <a:avLst/>
          </a:prstGeom>
          <a:solidFill>
            <a:srgbClr val="0B1B4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7D2D8C87-7976-0E69-3844-B45B596517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46323" y="1756759"/>
            <a:ext cx="1411548" cy="687982"/>
          </a:xfrm>
        </p:spPr>
        <p:txBody>
          <a:bodyPr anchor="ctr">
            <a:noAutofit/>
          </a:bodyPr>
          <a:lstStyle>
            <a:lvl1pPr marL="0" indent="0" algn="ctr">
              <a:buNone/>
              <a:defRPr sz="4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BF4CB6FA-2779-66DD-A408-B40D129B8D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46323" y="2444741"/>
            <a:ext cx="1411548" cy="21867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ULL STAT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F85A7D40-CF3C-1E13-1DF6-8FD77F455F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46323" y="2663420"/>
            <a:ext cx="1411548" cy="765579"/>
          </a:xfrm>
        </p:spPr>
        <p:txBody>
          <a:bodyPr lIns="137160" tIns="0" rIns="137160" bIns="0" anchor="t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context here.</a:t>
            </a:r>
          </a:p>
        </p:txBody>
      </p:sp>
      <p:sp>
        <p:nvSpPr>
          <p:cNvPr id="19" name="Rectangle: Rounded Corners 6">
            <a:extLst>
              <a:ext uri="{FF2B5EF4-FFF2-40B4-BE49-F238E27FC236}">
                <a16:creationId xmlns:a16="http://schemas.microsoft.com/office/drawing/2014/main" id="{59B76797-C811-914D-70AD-C116B033B96E}"/>
              </a:ext>
            </a:extLst>
          </p:cNvPr>
          <p:cNvSpPr/>
          <p:nvPr userDrawn="1"/>
        </p:nvSpPr>
        <p:spPr>
          <a:xfrm>
            <a:off x="3033973" y="1587930"/>
            <a:ext cx="1411549" cy="200635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92DEB28B-739D-339A-355D-AC54112DC5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33974" y="1756759"/>
            <a:ext cx="1411548" cy="687982"/>
          </a:xfrm>
        </p:spPr>
        <p:txBody>
          <a:bodyPr anchor="ctr">
            <a:noAutofit/>
          </a:bodyPr>
          <a:lstStyle>
            <a:lvl1pPr marL="0" indent="0" algn="ctr">
              <a:buNone/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B7830F2D-2211-D27E-B57D-5631436681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33974" y="2444741"/>
            <a:ext cx="1411548" cy="21867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ULL STAT</a:t>
            </a:r>
          </a:p>
        </p:txBody>
      </p:sp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21E84EF2-C18D-F23E-DF24-BE2F15B6BA6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33974" y="2663420"/>
            <a:ext cx="1411548" cy="765579"/>
          </a:xfrm>
        </p:spPr>
        <p:txBody>
          <a:bodyPr lIns="137160" tIns="0" rIns="137160" bIns="0" anchor="t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context here.</a:t>
            </a:r>
          </a:p>
        </p:txBody>
      </p:sp>
      <p:sp>
        <p:nvSpPr>
          <p:cNvPr id="23" name="Rectangle: Rounded Corners 6">
            <a:extLst>
              <a:ext uri="{FF2B5EF4-FFF2-40B4-BE49-F238E27FC236}">
                <a16:creationId xmlns:a16="http://schemas.microsoft.com/office/drawing/2014/main" id="{6F039CAE-B20B-9C72-8F9A-AA8E588CD38A}"/>
              </a:ext>
            </a:extLst>
          </p:cNvPr>
          <p:cNvSpPr/>
          <p:nvPr userDrawn="1"/>
        </p:nvSpPr>
        <p:spPr>
          <a:xfrm>
            <a:off x="1346322" y="3751075"/>
            <a:ext cx="1411549" cy="200635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FCE0BDB-B87A-7A02-34A8-148288FA2E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46323" y="3919904"/>
            <a:ext cx="1411548" cy="687982"/>
          </a:xfrm>
        </p:spPr>
        <p:txBody>
          <a:bodyPr anchor="ctr">
            <a:noAutofit/>
          </a:bodyPr>
          <a:lstStyle>
            <a:lvl1pPr marL="0" indent="0" algn="ctr">
              <a:buNone/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8D5AF1C6-42F6-8B04-BD8B-555390FC855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46323" y="4607886"/>
            <a:ext cx="1411548" cy="21867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ULL STAT</a:t>
            </a:r>
          </a:p>
        </p:txBody>
      </p:sp>
      <p:sp>
        <p:nvSpPr>
          <p:cNvPr id="26" name="Text Placeholder 15">
            <a:extLst>
              <a:ext uri="{FF2B5EF4-FFF2-40B4-BE49-F238E27FC236}">
                <a16:creationId xmlns:a16="http://schemas.microsoft.com/office/drawing/2014/main" id="{CD056C54-D4DB-39CE-2F4F-146CE01572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46323" y="4826565"/>
            <a:ext cx="1411548" cy="765579"/>
          </a:xfrm>
        </p:spPr>
        <p:txBody>
          <a:bodyPr lIns="137160" tIns="0" rIns="137160" bIns="0" anchor="t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context here.</a:t>
            </a:r>
          </a:p>
        </p:txBody>
      </p:sp>
      <p:sp>
        <p:nvSpPr>
          <p:cNvPr id="27" name="Rectangle: Rounded Corners 6">
            <a:extLst>
              <a:ext uri="{FF2B5EF4-FFF2-40B4-BE49-F238E27FC236}">
                <a16:creationId xmlns:a16="http://schemas.microsoft.com/office/drawing/2014/main" id="{04C775F8-D0BD-FEB2-8B88-9D25579FD2F1}"/>
              </a:ext>
            </a:extLst>
          </p:cNvPr>
          <p:cNvSpPr/>
          <p:nvPr userDrawn="1"/>
        </p:nvSpPr>
        <p:spPr>
          <a:xfrm>
            <a:off x="3033973" y="3754260"/>
            <a:ext cx="1411549" cy="2006354"/>
          </a:xfrm>
          <a:prstGeom prst="roundRect">
            <a:avLst/>
          </a:prstGeom>
          <a:solidFill>
            <a:srgbClr val="0B1B4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15">
            <a:extLst>
              <a:ext uri="{FF2B5EF4-FFF2-40B4-BE49-F238E27FC236}">
                <a16:creationId xmlns:a16="http://schemas.microsoft.com/office/drawing/2014/main" id="{1B88523A-71D9-24E9-31EE-39DB27115F1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33974" y="3923089"/>
            <a:ext cx="1411548" cy="687982"/>
          </a:xfrm>
        </p:spPr>
        <p:txBody>
          <a:bodyPr anchor="ctr">
            <a:noAutofit/>
          </a:bodyPr>
          <a:lstStyle>
            <a:lvl1pPr marL="0" indent="0" algn="ctr">
              <a:buNone/>
              <a:defRPr sz="4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  <p:sp>
        <p:nvSpPr>
          <p:cNvPr id="29" name="Text Placeholder 15">
            <a:extLst>
              <a:ext uri="{FF2B5EF4-FFF2-40B4-BE49-F238E27FC236}">
                <a16:creationId xmlns:a16="http://schemas.microsoft.com/office/drawing/2014/main" id="{AD6C202F-CB6B-E04B-7259-A3A0C35DD6C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33974" y="4611071"/>
            <a:ext cx="1411548" cy="218679"/>
          </a:xfrm>
        </p:spPr>
        <p:txBody>
          <a:bodyPr anchor="ctr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ULL STAT</a:t>
            </a:r>
          </a:p>
        </p:txBody>
      </p:sp>
      <p:sp>
        <p:nvSpPr>
          <p:cNvPr id="30" name="Text Placeholder 15">
            <a:extLst>
              <a:ext uri="{FF2B5EF4-FFF2-40B4-BE49-F238E27FC236}">
                <a16:creationId xmlns:a16="http://schemas.microsoft.com/office/drawing/2014/main" id="{3C6BCE56-E8CA-B2D9-DD9D-0697AB1FCF3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033974" y="4829750"/>
            <a:ext cx="1411548" cy="765579"/>
          </a:xfrm>
        </p:spPr>
        <p:txBody>
          <a:bodyPr lIns="137160" tIns="0" rIns="137160" bIns="0" anchor="t">
            <a:no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 context here.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FC52627B-348D-883B-F936-AA34A8196B3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012038" y="1918440"/>
            <a:ext cx="5940441" cy="560892"/>
          </a:xfrm>
        </p:spPr>
        <p:txBody>
          <a:bodyPr anchor="b"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D8FE6969-5F79-89C5-5A02-20946A4BB02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12038" y="2815428"/>
            <a:ext cx="5940441" cy="2776716"/>
          </a:xfrm>
        </p:spPr>
        <p:txBody>
          <a:bodyPr anchor="t"/>
          <a:lstStyle>
            <a:lvl1pPr marL="287338" indent="-287338"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context bullets</a:t>
            </a:r>
          </a:p>
        </p:txBody>
      </p:sp>
    </p:spTree>
    <p:extLst>
      <p:ext uri="{BB962C8B-B14F-4D97-AF65-F5344CB8AC3E}">
        <p14:creationId xmlns:p14="http://schemas.microsoft.com/office/powerpoint/2010/main" val="3135744090"/>
      </p:ext>
    </p:extLst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33EB7590-0119-1F3F-1378-808E98A836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70342" y="1124678"/>
            <a:ext cx="7021658" cy="5733321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71599F2-B573-46CC-5331-FDE34AEDDA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7350" y="1534160"/>
            <a:ext cx="4468813" cy="2639378"/>
          </a:xfrm>
        </p:spPr>
        <p:txBody>
          <a:bodyPr lIns="182880" tIns="91440" rIns="182880" bIns="91440" anchor="ctr">
            <a:noAutofit/>
          </a:bodyPr>
          <a:lstStyle>
            <a:lvl1pPr marL="0" indent="0">
              <a:lnSpc>
                <a:spcPct val="125000"/>
              </a:lnSpc>
              <a:buNone/>
              <a:defRPr sz="2400"/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US" dirty="0"/>
              <a:t>Add context here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539ECA-5BAE-4EA9-A408-88BD88CDCDCD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63689F3-CD9A-9A66-DCBF-14ABA81052A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29182" y="4509864"/>
            <a:ext cx="1882320" cy="1882320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</a:lstStyle>
          <a:p>
            <a:pPr lvl="0"/>
            <a:r>
              <a:rPr lang="en-US" dirty="0"/>
              <a:t>Cap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EEF36D1-C326-1B8D-20E3-3F75A4D3B0A4}"/>
              </a:ext>
            </a:extLst>
          </p:cNvPr>
          <p:cNvSpPr/>
          <p:nvPr userDrawn="1"/>
        </p:nvSpPr>
        <p:spPr>
          <a:xfrm>
            <a:off x="-4653" y="0"/>
            <a:ext cx="12192000" cy="11246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7927" y="152400"/>
            <a:ext cx="11651673" cy="972280"/>
          </a:xfr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lide title</a:t>
            </a:r>
          </a:p>
        </p:txBody>
      </p:sp>
    </p:spTree>
    <p:extLst>
      <p:ext uri="{BB962C8B-B14F-4D97-AF65-F5344CB8AC3E}">
        <p14:creationId xmlns:p14="http://schemas.microsoft.com/office/powerpoint/2010/main" val="2690490768"/>
      </p:ext>
    </p:extLst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e rectangle with white border&#10;&#10;Description automatically generated">
            <a:extLst>
              <a:ext uri="{FF2B5EF4-FFF2-40B4-BE49-F238E27FC236}">
                <a16:creationId xmlns:a16="http://schemas.microsoft.com/office/drawing/2014/main" id="{1FE2DB24-1168-6A81-AD6C-FF2EB78E07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895121"/>
            <a:ext cx="12192000" cy="3531904"/>
          </a:xfrm>
          <a:prstGeom prst="rect">
            <a:avLst/>
          </a:prstGeom>
        </p:spPr>
      </p:pic>
      <p:pic>
        <p:nvPicPr>
          <p:cNvPr id="11" name="Picture 10" descr="A blue and black logo&#10;&#10;Description automatically generated">
            <a:extLst>
              <a:ext uri="{FF2B5EF4-FFF2-40B4-BE49-F238E27FC236}">
                <a16:creationId xmlns:a16="http://schemas.microsoft.com/office/drawing/2014/main" id="{763BC1A5-B785-A643-A3FD-6B9B67B1CF9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6616" y="97463"/>
            <a:ext cx="4820056" cy="172460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7A2C89F1-061F-B521-4FCD-216CF00A09D5}"/>
              </a:ext>
            </a:extLst>
          </p:cNvPr>
          <p:cNvSpPr/>
          <p:nvPr userDrawn="1"/>
        </p:nvSpPr>
        <p:spPr>
          <a:xfrm>
            <a:off x="152400" y="6096000"/>
            <a:ext cx="3241964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F27C4E09-B9D2-3DC8-B196-8D5F4F72E39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539ECA-5BAE-4EA9-A408-88BD88CDCDC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603E05B-F444-426F-9005-DF4127C972B3}"/>
              </a:ext>
            </a:extLst>
          </p:cNvPr>
          <p:cNvSpPr txBox="1"/>
          <p:nvPr userDrawn="1"/>
        </p:nvSpPr>
        <p:spPr>
          <a:xfrm>
            <a:off x="1409658" y="2683606"/>
            <a:ext cx="9144000" cy="195493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6000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279306352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 NOT USE - INSTRUCTIONAL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BA459B-E81F-3A6C-B901-2EAD2F4C9D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625002"/>
            <a:ext cx="11430000" cy="518808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lide tit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5BB3AA4-9C4A-4ACF-4F09-48D87715297C}"/>
              </a:ext>
            </a:extLst>
          </p:cNvPr>
          <p:cNvSpPr txBox="1"/>
          <p:nvPr userDrawn="1"/>
        </p:nvSpPr>
        <p:spPr>
          <a:xfrm>
            <a:off x="381000" y="342900"/>
            <a:ext cx="5943599" cy="33855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600" b="0" i="0" dirty="0">
                <a:solidFill>
                  <a:schemeClr val="bg1"/>
                </a:solidFill>
                <a:latin typeface="Franklin Gothic Medium" panose="020B0603020102020204" pitchFamily="34" charset="0"/>
              </a:rPr>
              <a:t>SLIDE GUIDANC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2AFDB15-5EFC-5419-F66F-75C006C14167}"/>
              </a:ext>
            </a:extLst>
          </p:cNvPr>
          <p:cNvSpPr/>
          <p:nvPr userDrawn="1"/>
        </p:nvSpPr>
        <p:spPr>
          <a:xfrm>
            <a:off x="0" y="6096000"/>
            <a:ext cx="12192000" cy="762000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rtlCol="0" anchor="ctr"/>
          <a:lstStyle/>
          <a:p>
            <a:pPr algn="ctr">
              <a:lnSpc>
                <a:spcPct val="100000"/>
              </a:lnSpc>
            </a:pPr>
            <a:r>
              <a:rPr lang="en-US" sz="2400" b="0" i="0" spc="50" baseline="0" dirty="0">
                <a:solidFill>
                  <a:schemeClr val="accent2"/>
                </a:solidFill>
                <a:latin typeface="Franklin Gothic Medium" panose="020B0603020102020204" pitchFamily="34" charset="0"/>
              </a:rPr>
              <a:t>Do not use this slide in your presentation.</a:t>
            </a:r>
          </a:p>
          <a:p>
            <a:pPr algn="ctr">
              <a:lnSpc>
                <a:spcPct val="100000"/>
              </a:lnSpc>
            </a:pPr>
            <a:r>
              <a:rPr lang="en-US" sz="1400" b="0" i="0" spc="50" baseline="0" dirty="0">
                <a:solidFill>
                  <a:schemeClr val="accent2"/>
                </a:solidFill>
                <a:latin typeface="Franklin Gothic Medium" panose="020B0603020102020204" pitchFamily="34" charset="0"/>
              </a:rPr>
              <a:t>DELETE THIS SLIDE BEFORE YOUR PRESENTATION</a:t>
            </a:r>
          </a:p>
        </p:txBody>
      </p:sp>
    </p:spTree>
    <p:extLst>
      <p:ext uri="{BB962C8B-B14F-4D97-AF65-F5344CB8AC3E}">
        <p14:creationId xmlns:p14="http://schemas.microsoft.com/office/powerpoint/2010/main" val="3824782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27021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228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6/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4801549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96422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0371994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9051515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81078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827438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9891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2299099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119921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295157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6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43612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27021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22887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27021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22887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4801549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96422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0371994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9051515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8107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9/16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827438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884180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6829663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85496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74467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74467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637647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4377506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3495631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887864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34.xml"/><Relationship Id="rId21" Type="http://schemas.openxmlformats.org/officeDocument/2006/relationships/slideLayout" Target="../slideLayouts/slideLayout38.xml"/><Relationship Id="rId324" Type="http://schemas.openxmlformats.org/officeDocument/2006/relationships/slideLayout" Target="../slideLayouts/slideLayout341.xml"/><Relationship Id="rId531" Type="http://schemas.openxmlformats.org/officeDocument/2006/relationships/slideLayout" Target="../slideLayouts/slideLayout548.xml"/><Relationship Id="rId170" Type="http://schemas.openxmlformats.org/officeDocument/2006/relationships/slideLayout" Target="../slideLayouts/slideLayout187.xml"/><Relationship Id="rId268" Type="http://schemas.openxmlformats.org/officeDocument/2006/relationships/slideLayout" Target="../slideLayouts/slideLayout285.xml"/><Relationship Id="rId475" Type="http://schemas.openxmlformats.org/officeDocument/2006/relationships/slideLayout" Target="../slideLayouts/slideLayout492.xml"/><Relationship Id="rId32" Type="http://schemas.openxmlformats.org/officeDocument/2006/relationships/slideLayout" Target="../slideLayouts/slideLayout49.xml"/><Relationship Id="rId128" Type="http://schemas.openxmlformats.org/officeDocument/2006/relationships/slideLayout" Target="../slideLayouts/slideLayout145.xml"/><Relationship Id="rId335" Type="http://schemas.openxmlformats.org/officeDocument/2006/relationships/slideLayout" Target="../slideLayouts/slideLayout352.xml"/><Relationship Id="rId542" Type="http://schemas.openxmlformats.org/officeDocument/2006/relationships/slideLayout" Target="../slideLayouts/slideLayout559.xml"/><Relationship Id="rId181" Type="http://schemas.openxmlformats.org/officeDocument/2006/relationships/slideLayout" Target="../slideLayouts/slideLayout198.xml"/><Relationship Id="rId402" Type="http://schemas.openxmlformats.org/officeDocument/2006/relationships/slideLayout" Target="../slideLayouts/slideLayout419.xml"/><Relationship Id="rId279" Type="http://schemas.openxmlformats.org/officeDocument/2006/relationships/slideLayout" Target="../slideLayouts/slideLayout296.xml"/><Relationship Id="rId486" Type="http://schemas.openxmlformats.org/officeDocument/2006/relationships/slideLayout" Target="../slideLayouts/slideLayout503.xml"/><Relationship Id="rId43" Type="http://schemas.openxmlformats.org/officeDocument/2006/relationships/slideLayout" Target="../slideLayouts/slideLayout60.xml"/><Relationship Id="rId139" Type="http://schemas.openxmlformats.org/officeDocument/2006/relationships/slideLayout" Target="../slideLayouts/slideLayout156.xml"/><Relationship Id="rId346" Type="http://schemas.openxmlformats.org/officeDocument/2006/relationships/slideLayout" Target="../slideLayouts/slideLayout363.xml"/><Relationship Id="rId553" Type="http://schemas.openxmlformats.org/officeDocument/2006/relationships/slideLayout" Target="../slideLayouts/slideLayout570.xml"/><Relationship Id="rId192" Type="http://schemas.openxmlformats.org/officeDocument/2006/relationships/slideLayout" Target="../slideLayouts/slideLayout209.xml"/><Relationship Id="rId206" Type="http://schemas.openxmlformats.org/officeDocument/2006/relationships/slideLayout" Target="../slideLayouts/slideLayout223.xml"/><Relationship Id="rId413" Type="http://schemas.openxmlformats.org/officeDocument/2006/relationships/slideLayout" Target="../slideLayouts/slideLayout430.xml"/><Relationship Id="rId497" Type="http://schemas.openxmlformats.org/officeDocument/2006/relationships/slideLayout" Target="../slideLayouts/slideLayout514.xml"/><Relationship Id="rId620" Type="http://schemas.openxmlformats.org/officeDocument/2006/relationships/theme" Target="../theme/theme2.xml"/><Relationship Id="rId357" Type="http://schemas.openxmlformats.org/officeDocument/2006/relationships/slideLayout" Target="../slideLayouts/slideLayout374.xml"/><Relationship Id="rId54" Type="http://schemas.openxmlformats.org/officeDocument/2006/relationships/slideLayout" Target="../slideLayouts/slideLayout71.xml"/><Relationship Id="rId217" Type="http://schemas.openxmlformats.org/officeDocument/2006/relationships/slideLayout" Target="../slideLayouts/slideLayout234.xml"/><Relationship Id="rId564" Type="http://schemas.openxmlformats.org/officeDocument/2006/relationships/slideLayout" Target="../slideLayouts/slideLayout581.xml"/><Relationship Id="rId424" Type="http://schemas.openxmlformats.org/officeDocument/2006/relationships/slideLayout" Target="../slideLayouts/slideLayout441.xml"/><Relationship Id="rId270" Type="http://schemas.openxmlformats.org/officeDocument/2006/relationships/slideLayout" Target="../slideLayouts/slideLayout287.xml"/><Relationship Id="rId65" Type="http://schemas.openxmlformats.org/officeDocument/2006/relationships/slideLayout" Target="../slideLayouts/slideLayout82.xml"/><Relationship Id="rId130" Type="http://schemas.openxmlformats.org/officeDocument/2006/relationships/slideLayout" Target="../slideLayouts/slideLayout147.xml"/><Relationship Id="rId368" Type="http://schemas.openxmlformats.org/officeDocument/2006/relationships/slideLayout" Target="../slideLayouts/slideLayout385.xml"/><Relationship Id="rId575" Type="http://schemas.openxmlformats.org/officeDocument/2006/relationships/slideLayout" Target="../slideLayouts/slideLayout592.xml"/><Relationship Id="rId228" Type="http://schemas.openxmlformats.org/officeDocument/2006/relationships/slideLayout" Target="../slideLayouts/slideLayout245.xml"/><Relationship Id="rId435" Type="http://schemas.openxmlformats.org/officeDocument/2006/relationships/slideLayout" Target="../slideLayouts/slideLayout452.xml"/><Relationship Id="rId281" Type="http://schemas.openxmlformats.org/officeDocument/2006/relationships/slideLayout" Target="../slideLayouts/slideLayout298.xml"/><Relationship Id="rId502" Type="http://schemas.openxmlformats.org/officeDocument/2006/relationships/slideLayout" Target="../slideLayouts/slideLayout519.xml"/><Relationship Id="rId76" Type="http://schemas.openxmlformats.org/officeDocument/2006/relationships/slideLayout" Target="../slideLayouts/slideLayout93.xml"/><Relationship Id="rId141" Type="http://schemas.openxmlformats.org/officeDocument/2006/relationships/slideLayout" Target="../slideLayouts/slideLayout158.xml"/><Relationship Id="rId379" Type="http://schemas.openxmlformats.org/officeDocument/2006/relationships/slideLayout" Target="../slideLayouts/slideLayout396.xml"/><Relationship Id="rId586" Type="http://schemas.openxmlformats.org/officeDocument/2006/relationships/slideLayout" Target="../slideLayouts/slideLayout603.xml"/><Relationship Id="rId7" Type="http://schemas.openxmlformats.org/officeDocument/2006/relationships/slideLayout" Target="../slideLayouts/slideLayout24.xml"/><Relationship Id="rId239" Type="http://schemas.openxmlformats.org/officeDocument/2006/relationships/slideLayout" Target="../slideLayouts/slideLayout256.xml"/><Relationship Id="rId446" Type="http://schemas.openxmlformats.org/officeDocument/2006/relationships/slideLayout" Target="../slideLayouts/slideLayout463.xml"/><Relationship Id="rId292" Type="http://schemas.openxmlformats.org/officeDocument/2006/relationships/slideLayout" Target="../slideLayouts/slideLayout309.xml"/><Relationship Id="rId306" Type="http://schemas.openxmlformats.org/officeDocument/2006/relationships/slideLayout" Target="../slideLayouts/slideLayout323.xml"/><Relationship Id="rId87" Type="http://schemas.openxmlformats.org/officeDocument/2006/relationships/slideLayout" Target="../slideLayouts/slideLayout104.xml"/><Relationship Id="rId513" Type="http://schemas.openxmlformats.org/officeDocument/2006/relationships/slideLayout" Target="../slideLayouts/slideLayout530.xml"/><Relationship Id="rId597" Type="http://schemas.openxmlformats.org/officeDocument/2006/relationships/slideLayout" Target="../slideLayouts/slideLayout614.xml"/><Relationship Id="rId152" Type="http://schemas.openxmlformats.org/officeDocument/2006/relationships/slideLayout" Target="../slideLayouts/slideLayout169.xml"/><Relationship Id="rId457" Type="http://schemas.openxmlformats.org/officeDocument/2006/relationships/slideLayout" Target="../slideLayouts/slideLayout474.xml"/><Relationship Id="rId14" Type="http://schemas.openxmlformats.org/officeDocument/2006/relationships/slideLayout" Target="../slideLayouts/slideLayout31.xml"/><Relationship Id="rId317" Type="http://schemas.openxmlformats.org/officeDocument/2006/relationships/slideLayout" Target="../slideLayouts/slideLayout334.xml"/><Relationship Id="rId524" Type="http://schemas.openxmlformats.org/officeDocument/2006/relationships/slideLayout" Target="../slideLayouts/slideLayout541.xml"/><Relationship Id="rId98" Type="http://schemas.openxmlformats.org/officeDocument/2006/relationships/slideLayout" Target="../slideLayouts/slideLayout115.xml"/><Relationship Id="rId163" Type="http://schemas.openxmlformats.org/officeDocument/2006/relationships/slideLayout" Target="../slideLayouts/slideLayout180.xml"/><Relationship Id="rId370" Type="http://schemas.openxmlformats.org/officeDocument/2006/relationships/slideLayout" Target="../slideLayouts/slideLayout387.xml"/><Relationship Id="rId230" Type="http://schemas.openxmlformats.org/officeDocument/2006/relationships/slideLayout" Target="../slideLayouts/slideLayout247.xml"/><Relationship Id="rId468" Type="http://schemas.openxmlformats.org/officeDocument/2006/relationships/slideLayout" Target="../slideLayouts/slideLayout485.xml"/><Relationship Id="rId25" Type="http://schemas.openxmlformats.org/officeDocument/2006/relationships/slideLayout" Target="../slideLayouts/slideLayout42.xml"/><Relationship Id="rId328" Type="http://schemas.openxmlformats.org/officeDocument/2006/relationships/slideLayout" Target="../slideLayouts/slideLayout345.xml"/><Relationship Id="rId535" Type="http://schemas.openxmlformats.org/officeDocument/2006/relationships/slideLayout" Target="../slideLayouts/slideLayout552.xml"/><Relationship Id="rId132" Type="http://schemas.openxmlformats.org/officeDocument/2006/relationships/slideLayout" Target="../slideLayouts/slideLayout149.xml"/><Relationship Id="rId174" Type="http://schemas.openxmlformats.org/officeDocument/2006/relationships/slideLayout" Target="../slideLayouts/slideLayout191.xml"/><Relationship Id="rId381" Type="http://schemas.openxmlformats.org/officeDocument/2006/relationships/slideLayout" Target="../slideLayouts/slideLayout398.xml"/><Relationship Id="rId602" Type="http://schemas.openxmlformats.org/officeDocument/2006/relationships/slideLayout" Target="../slideLayouts/slideLayout619.xml"/><Relationship Id="rId241" Type="http://schemas.openxmlformats.org/officeDocument/2006/relationships/slideLayout" Target="../slideLayouts/slideLayout258.xml"/><Relationship Id="rId437" Type="http://schemas.openxmlformats.org/officeDocument/2006/relationships/slideLayout" Target="../slideLayouts/slideLayout454.xml"/><Relationship Id="rId479" Type="http://schemas.openxmlformats.org/officeDocument/2006/relationships/slideLayout" Target="../slideLayouts/slideLayout496.xml"/><Relationship Id="rId36" Type="http://schemas.openxmlformats.org/officeDocument/2006/relationships/slideLayout" Target="../slideLayouts/slideLayout53.xml"/><Relationship Id="rId283" Type="http://schemas.openxmlformats.org/officeDocument/2006/relationships/slideLayout" Target="../slideLayouts/slideLayout300.xml"/><Relationship Id="rId339" Type="http://schemas.openxmlformats.org/officeDocument/2006/relationships/slideLayout" Target="../slideLayouts/slideLayout356.xml"/><Relationship Id="rId490" Type="http://schemas.openxmlformats.org/officeDocument/2006/relationships/slideLayout" Target="../slideLayouts/slideLayout507.xml"/><Relationship Id="rId504" Type="http://schemas.openxmlformats.org/officeDocument/2006/relationships/slideLayout" Target="../slideLayouts/slideLayout521.xml"/><Relationship Id="rId546" Type="http://schemas.openxmlformats.org/officeDocument/2006/relationships/slideLayout" Target="../slideLayouts/slideLayout563.xml"/><Relationship Id="rId78" Type="http://schemas.openxmlformats.org/officeDocument/2006/relationships/slideLayout" Target="../slideLayouts/slideLayout95.xml"/><Relationship Id="rId101" Type="http://schemas.openxmlformats.org/officeDocument/2006/relationships/slideLayout" Target="../slideLayouts/slideLayout118.xml"/><Relationship Id="rId143" Type="http://schemas.openxmlformats.org/officeDocument/2006/relationships/slideLayout" Target="../slideLayouts/slideLayout160.xml"/><Relationship Id="rId185" Type="http://schemas.openxmlformats.org/officeDocument/2006/relationships/slideLayout" Target="../slideLayouts/slideLayout202.xml"/><Relationship Id="rId350" Type="http://schemas.openxmlformats.org/officeDocument/2006/relationships/slideLayout" Target="../slideLayouts/slideLayout367.xml"/><Relationship Id="rId406" Type="http://schemas.openxmlformats.org/officeDocument/2006/relationships/slideLayout" Target="../slideLayouts/slideLayout423.xml"/><Relationship Id="rId588" Type="http://schemas.openxmlformats.org/officeDocument/2006/relationships/slideLayout" Target="../slideLayouts/slideLayout605.xml"/><Relationship Id="rId9" Type="http://schemas.openxmlformats.org/officeDocument/2006/relationships/slideLayout" Target="../slideLayouts/slideLayout26.xml"/><Relationship Id="rId210" Type="http://schemas.openxmlformats.org/officeDocument/2006/relationships/slideLayout" Target="../slideLayouts/slideLayout227.xml"/><Relationship Id="rId392" Type="http://schemas.openxmlformats.org/officeDocument/2006/relationships/slideLayout" Target="../slideLayouts/slideLayout409.xml"/><Relationship Id="rId448" Type="http://schemas.openxmlformats.org/officeDocument/2006/relationships/slideLayout" Target="../slideLayouts/slideLayout465.xml"/><Relationship Id="rId613" Type="http://schemas.openxmlformats.org/officeDocument/2006/relationships/slideLayout" Target="../slideLayouts/slideLayout630.xml"/><Relationship Id="rId252" Type="http://schemas.openxmlformats.org/officeDocument/2006/relationships/slideLayout" Target="../slideLayouts/slideLayout269.xml"/><Relationship Id="rId294" Type="http://schemas.openxmlformats.org/officeDocument/2006/relationships/slideLayout" Target="../slideLayouts/slideLayout311.xml"/><Relationship Id="rId308" Type="http://schemas.openxmlformats.org/officeDocument/2006/relationships/slideLayout" Target="../slideLayouts/slideLayout325.xml"/><Relationship Id="rId515" Type="http://schemas.openxmlformats.org/officeDocument/2006/relationships/slideLayout" Target="../slideLayouts/slideLayout532.xml"/><Relationship Id="rId47" Type="http://schemas.openxmlformats.org/officeDocument/2006/relationships/slideLayout" Target="../slideLayouts/slideLayout64.xml"/><Relationship Id="rId89" Type="http://schemas.openxmlformats.org/officeDocument/2006/relationships/slideLayout" Target="../slideLayouts/slideLayout106.xml"/><Relationship Id="rId112" Type="http://schemas.openxmlformats.org/officeDocument/2006/relationships/slideLayout" Target="../slideLayouts/slideLayout129.xml"/><Relationship Id="rId154" Type="http://schemas.openxmlformats.org/officeDocument/2006/relationships/slideLayout" Target="../slideLayouts/slideLayout171.xml"/><Relationship Id="rId361" Type="http://schemas.openxmlformats.org/officeDocument/2006/relationships/slideLayout" Target="../slideLayouts/slideLayout378.xml"/><Relationship Id="rId557" Type="http://schemas.openxmlformats.org/officeDocument/2006/relationships/slideLayout" Target="../slideLayouts/slideLayout574.xml"/><Relationship Id="rId599" Type="http://schemas.openxmlformats.org/officeDocument/2006/relationships/slideLayout" Target="../slideLayouts/slideLayout616.xml"/><Relationship Id="rId196" Type="http://schemas.openxmlformats.org/officeDocument/2006/relationships/slideLayout" Target="../slideLayouts/slideLayout213.xml"/><Relationship Id="rId417" Type="http://schemas.openxmlformats.org/officeDocument/2006/relationships/slideLayout" Target="../slideLayouts/slideLayout434.xml"/><Relationship Id="rId459" Type="http://schemas.openxmlformats.org/officeDocument/2006/relationships/slideLayout" Target="../slideLayouts/slideLayout476.xml"/><Relationship Id="rId16" Type="http://schemas.openxmlformats.org/officeDocument/2006/relationships/slideLayout" Target="../slideLayouts/slideLayout33.xml"/><Relationship Id="rId221" Type="http://schemas.openxmlformats.org/officeDocument/2006/relationships/slideLayout" Target="../slideLayouts/slideLayout238.xml"/><Relationship Id="rId263" Type="http://schemas.openxmlformats.org/officeDocument/2006/relationships/slideLayout" Target="../slideLayouts/slideLayout280.xml"/><Relationship Id="rId319" Type="http://schemas.openxmlformats.org/officeDocument/2006/relationships/slideLayout" Target="../slideLayouts/slideLayout336.xml"/><Relationship Id="rId470" Type="http://schemas.openxmlformats.org/officeDocument/2006/relationships/slideLayout" Target="../slideLayouts/slideLayout487.xml"/><Relationship Id="rId526" Type="http://schemas.openxmlformats.org/officeDocument/2006/relationships/slideLayout" Target="../slideLayouts/slideLayout543.xml"/><Relationship Id="rId58" Type="http://schemas.openxmlformats.org/officeDocument/2006/relationships/slideLayout" Target="../slideLayouts/slideLayout75.xml"/><Relationship Id="rId123" Type="http://schemas.openxmlformats.org/officeDocument/2006/relationships/slideLayout" Target="../slideLayouts/slideLayout140.xml"/><Relationship Id="rId330" Type="http://schemas.openxmlformats.org/officeDocument/2006/relationships/slideLayout" Target="../slideLayouts/slideLayout347.xml"/><Relationship Id="rId568" Type="http://schemas.openxmlformats.org/officeDocument/2006/relationships/slideLayout" Target="../slideLayouts/slideLayout585.xml"/><Relationship Id="rId165" Type="http://schemas.openxmlformats.org/officeDocument/2006/relationships/slideLayout" Target="../slideLayouts/slideLayout182.xml"/><Relationship Id="rId372" Type="http://schemas.openxmlformats.org/officeDocument/2006/relationships/slideLayout" Target="../slideLayouts/slideLayout389.xml"/><Relationship Id="rId428" Type="http://schemas.openxmlformats.org/officeDocument/2006/relationships/slideLayout" Target="../slideLayouts/slideLayout445.xml"/><Relationship Id="rId232" Type="http://schemas.openxmlformats.org/officeDocument/2006/relationships/slideLayout" Target="../slideLayouts/slideLayout249.xml"/><Relationship Id="rId274" Type="http://schemas.openxmlformats.org/officeDocument/2006/relationships/slideLayout" Target="../slideLayouts/slideLayout291.xml"/><Relationship Id="rId481" Type="http://schemas.openxmlformats.org/officeDocument/2006/relationships/slideLayout" Target="../slideLayouts/slideLayout498.xml"/><Relationship Id="rId27" Type="http://schemas.openxmlformats.org/officeDocument/2006/relationships/slideLayout" Target="../slideLayouts/slideLayout44.xml"/><Relationship Id="rId69" Type="http://schemas.openxmlformats.org/officeDocument/2006/relationships/slideLayout" Target="../slideLayouts/slideLayout86.xml"/><Relationship Id="rId134" Type="http://schemas.openxmlformats.org/officeDocument/2006/relationships/slideLayout" Target="../slideLayouts/slideLayout151.xml"/><Relationship Id="rId537" Type="http://schemas.openxmlformats.org/officeDocument/2006/relationships/slideLayout" Target="../slideLayouts/slideLayout554.xml"/><Relationship Id="rId579" Type="http://schemas.openxmlformats.org/officeDocument/2006/relationships/slideLayout" Target="../slideLayouts/slideLayout596.xml"/><Relationship Id="rId80" Type="http://schemas.openxmlformats.org/officeDocument/2006/relationships/slideLayout" Target="../slideLayouts/slideLayout97.xml"/><Relationship Id="rId176" Type="http://schemas.openxmlformats.org/officeDocument/2006/relationships/slideLayout" Target="../slideLayouts/slideLayout193.xml"/><Relationship Id="rId341" Type="http://schemas.openxmlformats.org/officeDocument/2006/relationships/slideLayout" Target="../slideLayouts/slideLayout358.xml"/><Relationship Id="rId383" Type="http://schemas.openxmlformats.org/officeDocument/2006/relationships/slideLayout" Target="../slideLayouts/slideLayout400.xml"/><Relationship Id="rId439" Type="http://schemas.openxmlformats.org/officeDocument/2006/relationships/slideLayout" Target="../slideLayouts/slideLayout456.xml"/><Relationship Id="rId590" Type="http://schemas.openxmlformats.org/officeDocument/2006/relationships/slideLayout" Target="../slideLayouts/slideLayout607.xml"/><Relationship Id="rId604" Type="http://schemas.openxmlformats.org/officeDocument/2006/relationships/slideLayout" Target="../slideLayouts/slideLayout621.xml"/><Relationship Id="rId201" Type="http://schemas.openxmlformats.org/officeDocument/2006/relationships/slideLayout" Target="../slideLayouts/slideLayout218.xml"/><Relationship Id="rId243" Type="http://schemas.openxmlformats.org/officeDocument/2006/relationships/slideLayout" Target="../slideLayouts/slideLayout260.xml"/><Relationship Id="rId285" Type="http://schemas.openxmlformats.org/officeDocument/2006/relationships/slideLayout" Target="../slideLayouts/slideLayout302.xml"/><Relationship Id="rId450" Type="http://schemas.openxmlformats.org/officeDocument/2006/relationships/slideLayout" Target="../slideLayouts/slideLayout467.xml"/><Relationship Id="rId506" Type="http://schemas.openxmlformats.org/officeDocument/2006/relationships/slideLayout" Target="../slideLayouts/slideLayout523.xml"/><Relationship Id="rId38" Type="http://schemas.openxmlformats.org/officeDocument/2006/relationships/slideLayout" Target="../slideLayouts/slideLayout55.xml"/><Relationship Id="rId103" Type="http://schemas.openxmlformats.org/officeDocument/2006/relationships/slideLayout" Target="../slideLayouts/slideLayout120.xml"/><Relationship Id="rId310" Type="http://schemas.openxmlformats.org/officeDocument/2006/relationships/slideLayout" Target="../slideLayouts/slideLayout327.xml"/><Relationship Id="rId492" Type="http://schemas.openxmlformats.org/officeDocument/2006/relationships/slideLayout" Target="../slideLayouts/slideLayout509.xml"/><Relationship Id="rId548" Type="http://schemas.openxmlformats.org/officeDocument/2006/relationships/slideLayout" Target="../slideLayouts/slideLayout565.xml"/><Relationship Id="rId91" Type="http://schemas.openxmlformats.org/officeDocument/2006/relationships/slideLayout" Target="../slideLayouts/slideLayout108.xml"/><Relationship Id="rId145" Type="http://schemas.openxmlformats.org/officeDocument/2006/relationships/slideLayout" Target="../slideLayouts/slideLayout162.xml"/><Relationship Id="rId187" Type="http://schemas.openxmlformats.org/officeDocument/2006/relationships/slideLayout" Target="../slideLayouts/slideLayout204.xml"/><Relationship Id="rId352" Type="http://schemas.openxmlformats.org/officeDocument/2006/relationships/slideLayout" Target="../slideLayouts/slideLayout369.xml"/><Relationship Id="rId394" Type="http://schemas.openxmlformats.org/officeDocument/2006/relationships/slideLayout" Target="../slideLayouts/slideLayout411.xml"/><Relationship Id="rId408" Type="http://schemas.openxmlformats.org/officeDocument/2006/relationships/slideLayout" Target="../slideLayouts/slideLayout425.xml"/><Relationship Id="rId615" Type="http://schemas.openxmlformats.org/officeDocument/2006/relationships/slideLayout" Target="../slideLayouts/slideLayout632.xml"/><Relationship Id="rId212" Type="http://schemas.openxmlformats.org/officeDocument/2006/relationships/slideLayout" Target="../slideLayouts/slideLayout229.xml"/><Relationship Id="rId254" Type="http://schemas.openxmlformats.org/officeDocument/2006/relationships/slideLayout" Target="../slideLayouts/slideLayout271.xml"/><Relationship Id="rId49" Type="http://schemas.openxmlformats.org/officeDocument/2006/relationships/slideLayout" Target="../slideLayouts/slideLayout66.xml"/><Relationship Id="rId114" Type="http://schemas.openxmlformats.org/officeDocument/2006/relationships/slideLayout" Target="../slideLayouts/slideLayout131.xml"/><Relationship Id="rId296" Type="http://schemas.openxmlformats.org/officeDocument/2006/relationships/slideLayout" Target="../slideLayouts/slideLayout313.xml"/><Relationship Id="rId461" Type="http://schemas.openxmlformats.org/officeDocument/2006/relationships/slideLayout" Target="../slideLayouts/slideLayout478.xml"/><Relationship Id="rId517" Type="http://schemas.openxmlformats.org/officeDocument/2006/relationships/slideLayout" Target="../slideLayouts/slideLayout534.xml"/><Relationship Id="rId559" Type="http://schemas.openxmlformats.org/officeDocument/2006/relationships/slideLayout" Target="../slideLayouts/slideLayout576.xml"/><Relationship Id="rId60" Type="http://schemas.openxmlformats.org/officeDocument/2006/relationships/slideLayout" Target="../slideLayouts/slideLayout77.xml"/><Relationship Id="rId156" Type="http://schemas.openxmlformats.org/officeDocument/2006/relationships/slideLayout" Target="../slideLayouts/slideLayout173.xml"/><Relationship Id="rId198" Type="http://schemas.openxmlformats.org/officeDocument/2006/relationships/slideLayout" Target="../slideLayouts/slideLayout215.xml"/><Relationship Id="rId321" Type="http://schemas.openxmlformats.org/officeDocument/2006/relationships/slideLayout" Target="../slideLayouts/slideLayout338.xml"/><Relationship Id="rId363" Type="http://schemas.openxmlformats.org/officeDocument/2006/relationships/slideLayout" Target="../slideLayouts/slideLayout380.xml"/><Relationship Id="rId419" Type="http://schemas.openxmlformats.org/officeDocument/2006/relationships/slideLayout" Target="../slideLayouts/slideLayout436.xml"/><Relationship Id="rId570" Type="http://schemas.openxmlformats.org/officeDocument/2006/relationships/slideLayout" Target="../slideLayouts/slideLayout587.xml"/><Relationship Id="rId223" Type="http://schemas.openxmlformats.org/officeDocument/2006/relationships/slideLayout" Target="../slideLayouts/slideLayout240.xml"/><Relationship Id="rId430" Type="http://schemas.openxmlformats.org/officeDocument/2006/relationships/slideLayout" Target="../slideLayouts/slideLayout447.xml"/><Relationship Id="rId18" Type="http://schemas.openxmlformats.org/officeDocument/2006/relationships/slideLayout" Target="../slideLayouts/slideLayout35.xml"/><Relationship Id="rId265" Type="http://schemas.openxmlformats.org/officeDocument/2006/relationships/slideLayout" Target="../slideLayouts/slideLayout282.xml"/><Relationship Id="rId472" Type="http://schemas.openxmlformats.org/officeDocument/2006/relationships/slideLayout" Target="../slideLayouts/slideLayout489.xml"/><Relationship Id="rId528" Type="http://schemas.openxmlformats.org/officeDocument/2006/relationships/slideLayout" Target="../slideLayouts/slideLayout545.xml"/><Relationship Id="rId125" Type="http://schemas.openxmlformats.org/officeDocument/2006/relationships/slideLayout" Target="../slideLayouts/slideLayout142.xml"/><Relationship Id="rId167" Type="http://schemas.openxmlformats.org/officeDocument/2006/relationships/slideLayout" Target="../slideLayouts/slideLayout184.xml"/><Relationship Id="rId332" Type="http://schemas.openxmlformats.org/officeDocument/2006/relationships/slideLayout" Target="../slideLayouts/slideLayout349.xml"/><Relationship Id="rId374" Type="http://schemas.openxmlformats.org/officeDocument/2006/relationships/slideLayout" Target="../slideLayouts/slideLayout391.xml"/><Relationship Id="rId581" Type="http://schemas.openxmlformats.org/officeDocument/2006/relationships/slideLayout" Target="../slideLayouts/slideLayout598.xml"/><Relationship Id="rId71" Type="http://schemas.openxmlformats.org/officeDocument/2006/relationships/slideLayout" Target="../slideLayouts/slideLayout88.xml"/><Relationship Id="rId234" Type="http://schemas.openxmlformats.org/officeDocument/2006/relationships/slideLayout" Target="../slideLayouts/slideLayout251.xml"/><Relationship Id="rId2" Type="http://schemas.openxmlformats.org/officeDocument/2006/relationships/slideLayout" Target="../slideLayouts/slideLayout19.xml"/><Relationship Id="rId29" Type="http://schemas.openxmlformats.org/officeDocument/2006/relationships/slideLayout" Target="../slideLayouts/slideLayout46.xml"/><Relationship Id="rId276" Type="http://schemas.openxmlformats.org/officeDocument/2006/relationships/slideLayout" Target="../slideLayouts/slideLayout293.xml"/><Relationship Id="rId441" Type="http://schemas.openxmlformats.org/officeDocument/2006/relationships/slideLayout" Target="../slideLayouts/slideLayout458.xml"/><Relationship Id="rId483" Type="http://schemas.openxmlformats.org/officeDocument/2006/relationships/slideLayout" Target="../slideLayouts/slideLayout500.xml"/><Relationship Id="rId539" Type="http://schemas.openxmlformats.org/officeDocument/2006/relationships/slideLayout" Target="../slideLayouts/slideLayout556.xml"/><Relationship Id="rId40" Type="http://schemas.openxmlformats.org/officeDocument/2006/relationships/slideLayout" Target="../slideLayouts/slideLayout57.xml"/><Relationship Id="rId136" Type="http://schemas.openxmlformats.org/officeDocument/2006/relationships/slideLayout" Target="../slideLayouts/slideLayout153.xml"/><Relationship Id="rId178" Type="http://schemas.openxmlformats.org/officeDocument/2006/relationships/slideLayout" Target="../slideLayouts/slideLayout195.xml"/><Relationship Id="rId301" Type="http://schemas.openxmlformats.org/officeDocument/2006/relationships/slideLayout" Target="../slideLayouts/slideLayout318.xml"/><Relationship Id="rId343" Type="http://schemas.openxmlformats.org/officeDocument/2006/relationships/slideLayout" Target="../slideLayouts/slideLayout360.xml"/><Relationship Id="rId550" Type="http://schemas.openxmlformats.org/officeDocument/2006/relationships/slideLayout" Target="../slideLayouts/slideLayout567.xml"/><Relationship Id="rId82" Type="http://schemas.openxmlformats.org/officeDocument/2006/relationships/slideLayout" Target="../slideLayouts/slideLayout99.xml"/><Relationship Id="rId203" Type="http://schemas.openxmlformats.org/officeDocument/2006/relationships/slideLayout" Target="../slideLayouts/slideLayout220.xml"/><Relationship Id="rId385" Type="http://schemas.openxmlformats.org/officeDocument/2006/relationships/slideLayout" Target="../slideLayouts/slideLayout402.xml"/><Relationship Id="rId592" Type="http://schemas.openxmlformats.org/officeDocument/2006/relationships/slideLayout" Target="../slideLayouts/slideLayout609.xml"/><Relationship Id="rId606" Type="http://schemas.openxmlformats.org/officeDocument/2006/relationships/slideLayout" Target="../slideLayouts/slideLayout623.xml"/><Relationship Id="rId245" Type="http://schemas.openxmlformats.org/officeDocument/2006/relationships/slideLayout" Target="../slideLayouts/slideLayout262.xml"/><Relationship Id="rId287" Type="http://schemas.openxmlformats.org/officeDocument/2006/relationships/slideLayout" Target="../slideLayouts/slideLayout304.xml"/><Relationship Id="rId410" Type="http://schemas.openxmlformats.org/officeDocument/2006/relationships/slideLayout" Target="../slideLayouts/slideLayout427.xml"/><Relationship Id="rId452" Type="http://schemas.openxmlformats.org/officeDocument/2006/relationships/slideLayout" Target="../slideLayouts/slideLayout469.xml"/><Relationship Id="rId494" Type="http://schemas.openxmlformats.org/officeDocument/2006/relationships/slideLayout" Target="../slideLayouts/slideLayout511.xml"/><Relationship Id="rId508" Type="http://schemas.openxmlformats.org/officeDocument/2006/relationships/slideLayout" Target="../slideLayouts/slideLayout525.xml"/><Relationship Id="rId105" Type="http://schemas.openxmlformats.org/officeDocument/2006/relationships/slideLayout" Target="../slideLayouts/slideLayout122.xml"/><Relationship Id="rId147" Type="http://schemas.openxmlformats.org/officeDocument/2006/relationships/slideLayout" Target="../slideLayouts/slideLayout164.xml"/><Relationship Id="rId312" Type="http://schemas.openxmlformats.org/officeDocument/2006/relationships/slideLayout" Target="../slideLayouts/slideLayout329.xml"/><Relationship Id="rId354" Type="http://schemas.openxmlformats.org/officeDocument/2006/relationships/slideLayout" Target="../slideLayouts/slideLayout371.xml"/><Relationship Id="rId51" Type="http://schemas.openxmlformats.org/officeDocument/2006/relationships/slideLayout" Target="../slideLayouts/slideLayout68.xml"/><Relationship Id="rId93" Type="http://schemas.openxmlformats.org/officeDocument/2006/relationships/slideLayout" Target="../slideLayouts/slideLayout110.xml"/><Relationship Id="rId189" Type="http://schemas.openxmlformats.org/officeDocument/2006/relationships/slideLayout" Target="../slideLayouts/slideLayout206.xml"/><Relationship Id="rId396" Type="http://schemas.openxmlformats.org/officeDocument/2006/relationships/slideLayout" Target="../slideLayouts/slideLayout413.xml"/><Relationship Id="rId561" Type="http://schemas.openxmlformats.org/officeDocument/2006/relationships/slideLayout" Target="../slideLayouts/slideLayout578.xml"/><Relationship Id="rId617" Type="http://schemas.openxmlformats.org/officeDocument/2006/relationships/slideLayout" Target="../slideLayouts/slideLayout634.xml"/><Relationship Id="rId214" Type="http://schemas.openxmlformats.org/officeDocument/2006/relationships/slideLayout" Target="../slideLayouts/slideLayout231.xml"/><Relationship Id="rId256" Type="http://schemas.openxmlformats.org/officeDocument/2006/relationships/slideLayout" Target="../slideLayouts/slideLayout273.xml"/><Relationship Id="rId298" Type="http://schemas.openxmlformats.org/officeDocument/2006/relationships/slideLayout" Target="../slideLayouts/slideLayout315.xml"/><Relationship Id="rId421" Type="http://schemas.openxmlformats.org/officeDocument/2006/relationships/slideLayout" Target="../slideLayouts/slideLayout438.xml"/><Relationship Id="rId463" Type="http://schemas.openxmlformats.org/officeDocument/2006/relationships/slideLayout" Target="../slideLayouts/slideLayout480.xml"/><Relationship Id="rId519" Type="http://schemas.openxmlformats.org/officeDocument/2006/relationships/slideLayout" Target="../slideLayouts/slideLayout536.xml"/><Relationship Id="rId116" Type="http://schemas.openxmlformats.org/officeDocument/2006/relationships/slideLayout" Target="../slideLayouts/slideLayout133.xml"/><Relationship Id="rId158" Type="http://schemas.openxmlformats.org/officeDocument/2006/relationships/slideLayout" Target="../slideLayouts/slideLayout175.xml"/><Relationship Id="rId323" Type="http://schemas.openxmlformats.org/officeDocument/2006/relationships/slideLayout" Target="../slideLayouts/slideLayout340.xml"/><Relationship Id="rId530" Type="http://schemas.openxmlformats.org/officeDocument/2006/relationships/slideLayout" Target="../slideLayouts/slideLayout547.xml"/><Relationship Id="rId20" Type="http://schemas.openxmlformats.org/officeDocument/2006/relationships/slideLayout" Target="../slideLayouts/slideLayout37.xml"/><Relationship Id="rId62" Type="http://schemas.openxmlformats.org/officeDocument/2006/relationships/slideLayout" Target="../slideLayouts/slideLayout79.xml"/><Relationship Id="rId365" Type="http://schemas.openxmlformats.org/officeDocument/2006/relationships/slideLayout" Target="../slideLayouts/slideLayout382.xml"/><Relationship Id="rId572" Type="http://schemas.openxmlformats.org/officeDocument/2006/relationships/slideLayout" Target="../slideLayouts/slideLayout589.xml"/><Relationship Id="rId225" Type="http://schemas.openxmlformats.org/officeDocument/2006/relationships/slideLayout" Target="../slideLayouts/slideLayout242.xml"/><Relationship Id="rId267" Type="http://schemas.openxmlformats.org/officeDocument/2006/relationships/slideLayout" Target="../slideLayouts/slideLayout284.xml"/><Relationship Id="rId432" Type="http://schemas.openxmlformats.org/officeDocument/2006/relationships/slideLayout" Target="../slideLayouts/slideLayout449.xml"/><Relationship Id="rId474" Type="http://schemas.openxmlformats.org/officeDocument/2006/relationships/slideLayout" Target="../slideLayouts/slideLayout491.xml"/><Relationship Id="rId127" Type="http://schemas.openxmlformats.org/officeDocument/2006/relationships/slideLayout" Target="../slideLayouts/slideLayout144.xml"/><Relationship Id="rId31" Type="http://schemas.openxmlformats.org/officeDocument/2006/relationships/slideLayout" Target="../slideLayouts/slideLayout48.xml"/><Relationship Id="rId73" Type="http://schemas.openxmlformats.org/officeDocument/2006/relationships/slideLayout" Target="../slideLayouts/slideLayout90.xml"/><Relationship Id="rId169" Type="http://schemas.openxmlformats.org/officeDocument/2006/relationships/slideLayout" Target="../slideLayouts/slideLayout186.xml"/><Relationship Id="rId334" Type="http://schemas.openxmlformats.org/officeDocument/2006/relationships/slideLayout" Target="../slideLayouts/slideLayout351.xml"/><Relationship Id="rId376" Type="http://schemas.openxmlformats.org/officeDocument/2006/relationships/slideLayout" Target="../slideLayouts/slideLayout393.xml"/><Relationship Id="rId541" Type="http://schemas.openxmlformats.org/officeDocument/2006/relationships/slideLayout" Target="../slideLayouts/slideLayout558.xml"/><Relationship Id="rId583" Type="http://schemas.openxmlformats.org/officeDocument/2006/relationships/slideLayout" Target="../slideLayouts/slideLayout600.xml"/><Relationship Id="rId4" Type="http://schemas.openxmlformats.org/officeDocument/2006/relationships/slideLayout" Target="../slideLayouts/slideLayout21.xml"/><Relationship Id="rId180" Type="http://schemas.openxmlformats.org/officeDocument/2006/relationships/slideLayout" Target="../slideLayouts/slideLayout197.xml"/><Relationship Id="rId236" Type="http://schemas.openxmlformats.org/officeDocument/2006/relationships/slideLayout" Target="../slideLayouts/slideLayout253.xml"/><Relationship Id="rId278" Type="http://schemas.openxmlformats.org/officeDocument/2006/relationships/slideLayout" Target="../slideLayouts/slideLayout295.xml"/><Relationship Id="rId401" Type="http://schemas.openxmlformats.org/officeDocument/2006/relationships/slideLayout" Target="../slideLayouts/slideLayout418.xml"/><Relationship Id="rId443" Type="http://schemas.openxmlformats.org/officeDocument/2006/relationships/slideLayout" Target="../slideLayouts/slideLayout460.xml"/><Relationship Id="rId303" Type="http://schemas.openxmlformats.org/officeDocument/2006/relationships/slideLayout" Target="../slideLayouts/slideLayout320.xml"/><Relationship Id="rId485" Type="http://schemas.openxmlformats.org/officeDocument/2006/relationships/slideLayout" Target="../slideLayouts/slideLayout502.xml"/><Relationship Id="rId42" Type="http://schemas.openxmlformats.org/officeDocument/2006/relationships/slideLayout" Target="../slideLayouts/slideLayout59.xml"/><Relationship Id="rId84" Type="http://schemas.openxmlformats.org/officeDocument/2006/relationships/slideLayout" Target="../slideLayouts/slideLayout101.xml"/><Relationship Id="rId138" Type="http://schemas.openxmlformats.org/officeDocument/2006/relationships/slideLayout" Target="../slideLayouts/slideLayout155.xml"/><Relationship Id="rId345" Type="http://schemas.openxmlformats.org/officeDocument/2006/relationships/slideLayout" Target="../slideLayouts/slideLayout362.xml"/><Relationship Id="rId387" Type="http://schemas.openxmlformats.org/officeDocument/2006/relationships/slideLayout" Target="../slideLayouts/slideLayout404.xml"/><Relationship Id="rId510" Type="http://schemas.openxmlformats.org/officeDocument/2006/relationships/slideLayout" Target="../slideLayouts/slideLayout527.xml"/><Relationship Id="rId552" Type="http://schemas.openxmlformats.org/officeDocument/2006/relationships/slideLayout" Target="../slideLayouts/slideLayout569.xml"/><Relationship Id="rId594" Type="http://schemas.openxmlformats.org/officeDocument/2006/relationships/slideLayout" Target="../slideLayouts/slideLayout611.xml"/><Relationship Id="rId608" Type="http://schemas.openxmlformats.org/officeDocument/2006/relationships/slideLayout" Target="../slideLayouts/slideLayout625.xml"/><Relationship Id="rId191" Type="http://schemas.openxmlformats.org/officeDocument/2006/relationships/slideLayout" Target="../slideLayouts/slideLayout208.xml"/><Relationship Id="rId205" Type="http://schemas.openxmlformats.org/officeDocument/2006/relationships/slideLayout" Target="../slideLayouts/slideLayout222.xml"/><Relationship Id="rId247" Type="http://schemas.openxmlformats.org/officeDocument/2006/relationships/slideLayout" Target="../slideLayouts/slideLayout264.xml"/><Relationship Id="rId412" Type="http://schemas.openxmlformats.org/officeDocument/2006/relationships/slideLayout" Target="../slideLayouts/slideLayout429.xml"/><Relationship Id="rId107" Type="http://schemas.openxmlformats.org/officeDocument/2006/relationships/slideLayout" Target="../slideLayouts/slideLayout124.xml"/><Relationship Id="rId289" Type="http://schemas.openxmlformats.org/officeDocument/2006/relationships/slideLayout" Target="../slideLayouts/slideLayout306.xml"/><Relationship Id="rId454" Type="http://schemas.openxmlformats.org/officeDocument/2006/relationships/slideLayout" Target="../slideLayouts/slideLayout471.xml"/><Relationship Id="rId496" Type="http://schemas.openxmlformats.org/officeDocument/2006/relationships/slideLayout" Target="../slideLayouts/slideLayout513.xml"/><Relationship Id="rId11" Type="http://schemas.openxmlformats.org/officeDocument/2006/relationships/slideLayout" Target="../slideLayouts/slideLayout28.xml"/><Relationship Id="rId53" Type="http://schemas.openxmlformats.org/officeDocument/2006/relationships/slideLayout" Target="../slideLayouts/slideLayout70.xml"/><Relationship Id="rId149" Type="http://schemas.openxmlformats.org/officeDocument/2006/relationships/slideLayout" Target="../slideLayouts/slideLayout166.xml"/><Relationship Id="rId314" Type="http://schemas.openxmlformats.org/officeDocument/2006/relationships/slideLayout" Target="../slideLayouts/slideLayout331.xml"/><Relationship Id="rId356" Type="http://schemas.openxmlformats.org/officeDocument/2006/relationships/slideLayout" Target="../slideLayouts/slideLayout373.xml"/><Relationship Id="rId398" Type="http://schemas.openxmlformats.org/officeDocument/2006/relationships/slideLayout" Target="../slideLayouts/slideLayout415.xml"/><Relationship Id="rId521" Type="http://schemas.openxmlformats.org/officeDocument/2006/relationships/slideLayout" Target="../slideLayouts/slideLayout538.xml"/><Relationship Id="rId563" Type="http://schemas.openxmlformats.org/officeDocument/2006/relationships/slideLayout" Target="../slideLayouts/slideLayout580.xml"/><Relationship Id="rId619" Type="http://schemas.openxmlformats.org/officeDocument/2006/relationships/slideLayout" Target="../slideLayouts/slideLayout636.xml"/><Relationship Id="rId95" Type="http://schemas.openxmlformats.org/officeDocument/2006/relationships/slideLayout" Target="../slideLayouts/slideLayout112.xml"/><Relationship Id="rId160" Type="http://schemas.openxmlformats.org/officeDocument/2006/relationships/slideLayout" Target="../slideLayouts/slideLayout177.xml"/><Relationship Id="rId216" Type="http://schemas.openxmlformats.org/officeDocument/2006/relationships/slideLayout" Target="../slideLayouts/slideLayout233.xml"/><Relationship Id="rId423" Type="http://schemas.openxmlformats.org/officeDocument/2006/relationships/slideLayout" Target="../slideLayouts/slideLayout440.xml"/><Relationship Id="rId258" Type="http://schemas.openxmlformats.org/officeDocument/2006/relationships/slideLayout" Target="../slideLayouts/slideLayout275.xml"/><Relationship Id="rId465" Type="http://schemas.openxmlformats.org/officeDocument/2006/relationships/slideLayout" Target="../slideLayouts/slideLayout482.xml"/><Relationship Id="rId22" Type="http://schemas.openxmlformats.org/officeDocument/2006/relationships/slideLayout" Target="../slideLayouts/slideLayout39.xml"/><Relationship Id="rId64" Type="http://schemas.openxmlformats.org/officeDocument/2006/relationships/slideLayout" Target="../slideLayouts/slideLayout81.xml"/><Relationship Id="rId118" Type="http://schemas.openxmlformats.org/officeDocument/2006/relationships/slideLayout" Target="../slideLayouts/slideLayout135.xml"/><Relationship Id="rId325" Type="http://schemas.openxmlformats.org/officeDocument/2006/relationships/slideLayout" Target="../slideLayouts/slideLayout342.xml"/><Relationship Id="rId367" Type="http://schemas.openxmlformats.org/officeDocument/2006/relationships/slideLayout" Target="../slideLayouts/slideLayout384.xml"/><Relationship Id="rId532" Type="http://schemas.openxmlformats.org/officeDocument/2006/relationships/slideLayout" Target="../slideLayouts/slideLayout549.xml"/><Relationship Id="rId574" Type="http://schemas.openxmlformats.org/officeDocument/2006/relationships/slideLayout" Target="../slideLayouts/slideLayout591.xml"/><Relationship Id="rId171" Type="http://schemas.openxmlformats.org/officeDocument/2006/relationships/slideLayout" Target="../slideLayouts/slideLayout188.xml"/><Relationship Id="rId227" Type="http://schemas.openxmlformats.org/officeDocument/2006/relationships/slideLayout" Target="../slideLayouts/slideLayout244.xml"/><Relationship Id="rId269" Type="http://schemas.openxmlformats.org/officeDocument/2006/relationships/slideLayout" Target="../slideLayouts/slideLayout286.xml"/><Relationship Id="rId434" Type="http://schemas.openxmlformats.org/officeDocument/2006/relationships/slideLayout" Target="../slideLayouts/slideLayout451.xml"/><Relationship Id="rId476" Type="http://schemas.openxmlformats.org/officeDocument/2006/relationships/slideLayout" Target="../slideLayouts/slideLayout493.xml"/><Relationship Id="rId33" Type="http://schemas.openxmlformats.org/officeDocument/2006/relationships/slideLayout" Target="../slideLayouts/slideLayout50.xml"/><Relationship Id="rId129" Type="http://schemas.openxmlformats.org/officeDocument/2006/relationships/slideLayout" Target="../slideLayouts/slideLayout146.xml"/><Relationship Id="rId280" Type="http://schemas.openxmlformats.org/officeDocument/2006/relationships/slideLayout" Target="../slideLayouts/slideLayout297.xml"/><Relationship Id="rId336" Type="http://schemas.openxmlformats.org/officeDocument/2006/relationships/slideLayout" Target="../slideLayouts/slideLayout353.xml"/><Relationship Id="rId501" Type="http://schemas.openxmlformats.org/officeDocument/2006/relationships/slideLayout" Target="../slideLayouts/slideLayout518.xml"/><Relationship Id="rId543" Type="http://schemas.openxmlformats.org/officeDocument/2006/relationships/slideLayout" Target="../slideLayouts/slideLayout560.xml"/><Relationship Id="rId75" Type="http://schemas.openxmlformats.org/officeDocument/2006/relationships/slideLayout" Target="../slideLayouts/slideLayout92.xml"/><Relationship Id="rId140" Type="http://schemas.openxmlformats.org/officeDocument/2006/relationships/slideLayout" Target="../slideLayouts/slideLayout157.xml"/><Relationship Id="rId182" Type="http://schemas.openxmlformats.org/officeDocument/2006/relationships/slideLayout" Target="../slideLayouts/slideLayout199.xml"/><Relationship Id="rId378" Type="http://schemas.openxmlformats.org/officeDocument/2006/relationships/slideLayout" Target="../slideLayouts/slideLayout395.xml"/><Relationship Id="rId403" Type="http://schemas.openxmlformats.org/officeDocument/2006/relationships/slideLayout" Target="../slideLayouts/slideLayout420.xml"/><Relationship Id="rId585" Type="http://schemas.openxmlformats.org/officeDocument/2006/relationships/slideLayout" Target="../slideLayouts/slideLayout602.xml"/><Relationship Id="rId6" Type="http://schemas.openxmlformats.org/officeDocument/2006/relationships/slideLayout" Target="../slideLayouts/slideLayout23.xml"/><Relationship Id="rId238" Type="http://schemas.openxmlformats.org/officeDocument/2006/relationships/slideLayout" Target="../slideLayouts/slideLayout255.xml"/><Relationship Id="rId445" Type="http://schemas.openxmlformats.org/officeDocument/2006/relationships/slideLayout" Target="../slideLayouts/slideLayout462.xml"/><Relationship Id="rId487" Type="http://schemas.openxmlformats.org/officeDocument/2006/relationships/slideLayout" Target="../slideLayouts/slideLayout504.xml"/><Relationship Id="rId610" Type="http://schemas.openxmlformats.org/officeDocument/2006/relationships/slideLayout" Target="../slideLayouts/slideLayout627.xml"/><Relationship Id="rId291" Type="http://schemas.openxmlformats.org/officeDocument/2006/relationships/slideLayout" Target="../slideLayouts/slideLayout308.xml"/><Relationship Id="rId305" Type="http://schemas.openxmlformats.org/officeDocument/2006/relationships/slideLayout" Target="../slideLayouts/slideLayout322.xml"/><Relationship Id="rId347" Type="http://schemas.openxmlformats.org/officeDocument/2006/relationships/slideLayout" Target="../slideLayouts/slideLayout364.xml"/><Relationship Id="rId512" Type="http://schemas.openxmlformats.org/officeDocument/2006/relationships/slideLayout" Target="../slideLayouts/slideLayout529.xml"/><Relationship Id="rId44" Type="http://schemas.openxmlformats.org/officeDocument/2006/relationships/slideLayout" Target="../slideLayouts/slideLayout61.xml"/><Relationship Id="rId86" Type="http://schemas.openxmlformats.org/officeDocument/2006/relationships/slideLayout" Target="../slideLayouts/slideLayout103.xml"/><Relationship Id="rId151" Type="http://schemas.openxmlformats.org/officeDocument/2006/relationships/slideLayout" Target="../slideLayouts/slideLayout168.xml"/><Relationship Id="rId389" Type="http://schemas.openxmlformats.org/officeDocument/2006/relationships/slideLayout" Target="../slideLayouts/slideLayout406.xml"/><Relationship Id="rId554" Type="http://schemas.openxmlformats.org/officeDocument/2006/relationships/slideLayout" Target="../slideLayouts/slideLayout571.xml"/><Relationship Id="rId596" Type="http://schemas.openxmlformats.org/officeDocument/2006/relationships/slideLayout" Target="../slideLayouts/slideLayout613.xml"/><Relationship Id="rId193" Type="http://schemas.openxmlformats.org/officeDocument/2006/relationships/slideLayout" Target="../slideLayouts/slideLayout210.xml"/><Relationship Id="rId207" Type="http://schemas.openxmlformats.org/officeDocument/2006/relationships/slideLayout" Target="../slideLayouts/slideLayout224.xml"/><Relationship Id="rId249" Type="http://schemas.openxmlformats.org/officeDocument/2006/relationships/slideLayout" Target="../slideLayouts/slideLayout266.xml"/><Relationship Id="rId414" Type="http://schemas.openxmlformats.org/officeDocument/2006/relationships/slideLayout" Target="../slideLayouts/slideLayout431.xml"/><Relationship Id="rId456" Type="http://schemas.openxmlformats.org/officeDocument/2006/relationships/slideLayout" Target="../slideLayouts/slideLayout473.xml"/><Relationship Id="rId498" Type="http://schemas.openxmlformats.org/officeDocument/2006/relationships/slideLayout" Target="../slideLayouts/slideLayout515.xml"/><Relationship Id="rId13" Type="http://schemas.openxmlformats.org/officeDocument/2006/relationships/slideLayout" Target="../slideLayouts/slideLayout30.xml"/><Relationship Id="rId109" Type="http://schemas.openxmlformats.org/officeDocument/2006/relationships/slideLayout" Target="../slideLayouts/slideLayout126.xml"/><Relationship Id="rId260" Type="http://schemas.openxmlformats.org/officeDocument/2006/relationships/slideLayout" Target="../slideLayouts/slideLayout277.xml"/><Relationship Id="rId316" Type="http://schemas.openxmlformats.org/officeDocument/2006/relationships/slideLayout" Target="../slideLayouts/slideLayout333.xml"/><Relationship Id="rId523" Type="http://schemas.openxmlformats.org/officeDocument/2006/relationships/slideLayout" Target="../slideLayouts/slideLayout540.xml"/><Relationship Id="rId55" Type="http://schemas.openxmlformats.org/officeDocument/2006/relationships/slideLayout" Target="../slideLayouts/slideLayout72.xml"/><Relationship Id="rId97" Type="http://schemas.openxmlformats.org/officeDocument/2006/relationships/slideLayout" Target="../slideLayouts/slideLayout114.xml"/><Relationship Id="rId120" Type="http://schemas.openxmlformats.org/officeDocument/2006/relationships/slideLayout" Target="../slideLayouts/slideLayout137.xml"/><Relationship Id="rId358" Type="http://schemas.openxmlformats.org/officeDocument/2006/relationships/slideLayout" Target="../slideLayouts/slideLayout375.xml"/><Relationship Id="rId565" Type="http://schemas.openxmlformats.org/officeDocument/2006/relationships/slideLayout" Target="../slideLayouts/slideLayout582.xml"/><Relationship Id="rId162" Type="http://schemas.openxmlformats.org/officeDocument/2006/relationships/slideLayout" Target="../slideLayouts/slideLayout179.xml"/><Relationship Id="rId218" Type="http://schemas.openxmlformats.org/officeDocument/2006/relationships/slideLayout" Target="../slideLayouts/slideLayout235.xml"/><Relationship Id="rId425" Type="http://schemas.openxmlformats.org/officeDocument/2006/relationships/slideLayout" Target="../slideLayouts/slideLayout442.xml"/><Relationship Id="rId467" Type="http://schemas.openxmlformats.org/officeDocument/2006/relationships/slideLayout" Target="../slideLayouts/slideLayout484.xml"/><Relationship Id="rId271" Type="http://schemas.openxmlformats.org/officeDocument/2006/relationships/slideLayout" Target="../slideLayouts/slideLayout288.xml"/><Relationship Id="rId24" Type="http://schemas.openxmlformats.org/officeDocument/2006/relationships/slideLayout" Target="../slideLayouts/slideLayout41.xml"/><Relationship Id="rId66" Type="http://schemas.openxmlformats.org/officeDocument/2006/relationships/slideLayout" Target="../slideLayouts/slideLayout83.xml"/><Relationship Id="rId131" Type="http://schemas.openxmlformats.org/officeDocument/2006/relationships/slideLayout" Target="../slideLayouts/slideLayout148.xml"/><Relationship Id="rId327" Type="http://schemas.openxmlformats.org/officeDocument/2006/relationships/slideLayout" Target="../slideLayouts/slideLayout344.xml"/><Relationship Id="rId369" Type="http://schemas.openxmlformats.org/officeDocument/2006/relationships/slideLayout" Target="../slideLayouts/slideLayout386.xml"/><Relationship Id="rId534" Type="http://schemas.openxmlformats.org/officeDocument/2006/relationships/slideLayout" Target="../slideLayouts/slideLayout551.xml"/><Relationship Id="rId576" Type="http://schemas.openxmlformats.org/officeDocument/2006/relationships/slideLayout" Target="../slideLayouts/slideLayout593.xml"/><Relationship Id="rId173" Type="http://schemas.openxmlformats.org/officeDocument/2006/relationships/slideLayout" Target="../slideLayouts/slideLayout190.xml"/><Relationship Id="rId229" Type="http://schemas.openxmlformats.org/officeDocument/2006/relationships/slideLayout" Target="../slideLayouts/slideLayout246.xml"/><Relationship Id="rId380" Type="http://schemas.openxmlformats.org/officeDocument/2006/relationships/slideLayout" Target="../slideLayouts/slideLayout397.xml"/><Relationship Id="rId436" Type="http://schemas.openxmlformats.org/officeDocument/2006/relationships/slideLayout" Target="../slideLayouts/slideLayout453.xml"/><Relationship Id="rId601" Type="http://schemas.openxmlformats.org/officeDocument/2006/relationships/slideLayout" Target="../slideLayouts/slideLayout618.xml"/><Relationship Id="rId240" Type="http://schemas.openxmlformats.org/officeDocument/2006/relationships/slideLayout" Target="../slideLayouts/slideLayout257.xml"/><Relationship Id="rId478" Type="http://schemas.openxmlformats.org/officeDocument/2006/relationships/slideLayout" Target="../slideLayouts/slideLayout495.xml"/><Relationship Id="rId35" Type="http://schemas.openxmlformats.org/officeDocument/2006/relationships/slideLayout" Target="../slideLayouts/slideLayout52.xml"/><Relationship Id="rId77" Type="http://schemas.openxmlformats.org/officeDocument/2006/relationships/slideLayout" Target="../slideLayouts/slideLayout94.xml"/><Relationship Id="rId100" Type="http://schemas.openxmlformats.org/officeDocument/2006/relationships/slideLayout" Target="../slideLayouts/slideLayout117.xml"/><Relationship Id="rId282" Type="http://schemas.openxmlformats.org/officeDocument/2006/relationships/slideLayout" Target="../slideLayouts/slideLayout299.xml"/><Relationship Id="rId338" Type="http://schemas.openxmlformats.org/officeDocument/2006/relationships/slideLayout" Target="../slideLayouts/slideLayout355.xml"/><Relationship Id="rId503" Type="http://schemas.openxmlformats.org/officeDocument/2006/relationships/slideLayout" Target="../slideLayouts/slideLayout520.xml"/><Relationship Id="rId545" Type="http://schemas.openxmlformats.org/officeDocument/2006/relationships/slideLayout" Target="../slideLayouts/slideLayout562.xml"/><Relationship Id="rId587" Type="http://schemas.openxmlformats.org/officeDocument/2006/relationships/slideLayout" Target="../slideLayouts/slideLayout604.xml"/><Relationship Id="rId8" Type="http://schemas.openxmlformats.org/officeDocument/2006/relationships/slideLayout" Target="../slideLayouts/slideLayout25.xml"/><Relationship Id="rId142" Type="http://schemas.openxmlformats.org/officeDocument/2006/relationships/slideLayout" Target="../slideLayouts/slideLayout159.xml"/><Relationship Id="rId184" Type="http://schemas.openxmlformats.org/officeDocument/2006/relationships/slideLayout" Target="../slideLayouts/slideLayout201.xml"/><Relationship Id="rId391" Type="http://schemas.openxmlformats.org/officeDocument/2006/relationships/slideLayout" Target="../slideLayouts/slideLayout408.xml"/><Relationship Id="rId405" Type="http://schemas.openxmlformats.org/officeDocument/2006/relationships/slideLayout" Target="../slideLayouts/slideLayout422.xml"/><Relationship Id="rId447" Type="http://schemas.openxmlformats.org/officeDocument/2006/relationships/slideLayout" Target="../slideLayouts/slideLayout464.xml"/><Relationship Id="rId612" Type="http://schemas.openxmlformats.org/officeDocument/2006/relationships/slideLayout" Target="../slideLayouts/slideLayout629.xml"/><Relationship Id="rId251" Type="http://schemas.openxmlformats.org/officeDocument/2006/relationships/slideLayout" Target="../slideLayouts/slideLayout268.xml"/><Relationship Id="rId489" Type="http://schemas.openxmlformats.org/officeDocument/2006/relationships/slideLayout" Target="../slideLayouts/slideLayout506.xml"/><Relationship Id="rId46" Type="http://schemas.openxmlformats.org/officeDocument/2006/relationships/slideLayout" Target="../slideLayouts/slideLayout63.xml"/><Relationship Id="rId293" Type="http://schemas.openxmlformats.org/officeDocument/2006/relationships/slideLayout" Target="../slideLayouts/slideLayout310.xml"/><Relationship Id="rId307" Type="http://schemas.openxmlformats.org/officeDocument/2006/relationships/slideLayout" Target="../slideLayouts/slideLayout324.xml"/><Relationship Id="rId349" Type="http://schemas.openxmlformats.org/officeDocument/2006/relationships/slideLayout" Target="../slideLayouts/slideLayout366.xml"/><Relationship Id="rId514" Type="http://schemas.openxmlformats.org/officeDocument/2006/relationships/slideLayout" Target="../slideLayouts/slideLayout531.xml"/><Relationship Id="rId556" Type="http://schemas.openxmlformats.org/officeDocument/2006/relationships/slideLayout" Target="../slideLayouts/slideLayout573.xml"/><Relationship Id="rId88" Type="http://schemas.openxmlformats.org/officeDocument/2006/relationships/slideLayout" Target="../slideLayouts/slideLayout105.xml"/><Relationship Id="rId111" Type="http://schemas.openxmlformats.org/officeDocument/2006/relationships/slideLayout" Target="../slideLayouts/slideLayout128.xml"/><Relationship Id="rId153" Type="http://schemas.openxmlformats.org/officeDocument/2006/relationships/slideLayout" Target="../slideLayouts/slideLayout170.xml"/><Relationship Id="rId195" Type="http://schemas.openxmlformats.org/officeDocument/2006/relationships/slideLayout" Target="../slideLayouts/slideLayout212.xml"/><Relationship Id="rId209" Type="http://schemas.openxmlformats.org/officeDocument/2006/relationships/slideLayout" Target="../slideLayouts/slideLayout226.xml"/><Relationship Id="rId360" Type="http://schemas.openxmlformats.org/officeDocument/2006/relationships/slideLayout" Target="../slideLayouts/slideLayout377.xml"/><Relationship Id="rId416" Type="http://schemas.openxmlformats.org/officeDocument/2006/relationships/slideLayout" Target="../slideLayouts/slideLayout433.xml"/><Relationship Id="rId598" Type="http://schemas.openxmlformats.org/officeDocument/2006/relationships/slideLayout" Target="../slideLayouts/slideLayout615.xml"/><Relationship Id="rId220" Type="http://schemas.openxmlformats.org/officeDocument/2006/relationships/slideLayout" Target="../slideLayouts/slideLayout237.xml"/><Relationship Id="rId458" Type="http://schemas.openxmlformats.org/officeDocument/2006/relationships/slideLayout" Target="../slideLayouts/slideLayout475.xml"/><Relationship Id="rId15" Type="http://schemas.openxmlformats.org/officeDocument/2006/relationships/slideLayout" Target="../slideLayouts/slideLayout32.xml"/><Relationship Id="rId57" Type="http://schemas.openxmlformats.org/officeDocument/2006/relationships/slideLayout" Target="../slideLayouts/slideLayout74.xml"/><Relationship Id="rId262" Type="http://schemas.openxmlformats.org/officeDocument/2006/relationships/slideLayout" Target="../slideLayouts/slideLayout279.xml"/><Relationship Id="rId318" Type="http://schemas.openxmlformats.org/officeDocument/2006/relationships/slideLayout" Target="../slideLayouts/slideLayout335.xml"/><Relationship Id="rId525" Type="http://schemas.openxmlformats.org/officeDocument/2006/relationships/slideLayout" Target="../slideLayouts/slideLayout542.xml"/><Relationship Id="rId567" Type="http://schemas.openxmlformats.org/officeDocument/2006/relationships/slideLayout" Target="../slideLayouts/slideLayout584.xml"/><Relationship Id="rId99" Type="http://schemas.openxmlformats.org/officeDocument/2006/relationships/slideLayout" Target="../slideLayouts/slideLayout116.xml"/><Relationship Id="rId122" Type="http://schemas.openxmlformats.org/officeDocument/2006/relationships/slideLayout" Target="../slideLayouts/slideLayout139.xml"/><Relationship Id="rId164" Type="http://schemas.openxmlformats.org/officeDocument/2006/relationships/slideLayout" Target="../slideLayouts/slideLayout181.xml"/><Relationship Id="rId371" Type="http://schemas.openxmlformats.org/officeDocument/2006/relationships/slideLayout" Target="../slideLayouts/slideLayout388.xml"/><Relationship Id="rId427" Type="http://schemas.openxmlformats.org/officeDocument/2006/relationships/slideLayout" Target="../slideLayouts/slideLayout444.xml"/><Relationship Id="rId469" Type="http://schemas.openxmlformats.org/officeDocument/2006/relationships/slideLayout" Target="../slideLayouts/slideLayout486.xml"/><Relationship Id="rId26" Type="http://schemas.openxmlformats.org/officeDocument/2006/relationships/slideLayout" Target="../slideLayouts/slideLayout43.xml"/><Relationship Id="rId231" Type="http://schemas.openxmlformats.org/officeDocument/2006/relationships/slideLayout" Target="../slideLayouts/slideLayout248.xml"/><Relationship Id="rId273" Type="http://schemas.openxmlformats.org/officeDocument/2006/relationships/slideLayout" Target="../slideLayouts/slideLayout290.xml"/><Relationship Id="rId329" Type="http://schemas.openxmlformats.org/officeDocument/2006/relationships/slideLayout" Target="../slideLayouts/slideLayout346.xml"/><Relationship Id="rId480" Type="http://schemas.openxmlformats.org/officeDocument/2006/relationships/slideLayout" Target="../slideLayouts/slideLayout497.xml"/><Relationship Id="rId536" Type="http://schemas.openxmlformats.org/officeDocument/2006/relationships/slideLayout" Target="../slideLayouts/slideLayout553.xml"/><Relationship Id="rId68" Type="http://schemas.openxmlformats.org/officeDocument/2006/relationships/slideLayout" Target="../slideLayouts/slideLayout85.xml"/><Relationship Id="rId133" Type="http://schemas.openxmlformats.org/officeDocument/2006/relationships/slideLayout" Target="../slideLayouts/slideLayout150.xml"/><Relationship Id="rId175" Type="http://schemas.openxmlformats.org/officeDocument/2006/relationships/slideLayout" Target="../slideLayouts/slideLayout192.xml"/><Relationship Id="rId340" Type="http://schemas.openxmlformats.org/officeDocument/2006/relationships/slideLayout" Target="../slideLayouts/slideLayout357.xml"/><Relationship Id="rId578" Type="http://schemas.openxmlformats.org/officeDocument/2006/relationships/slideLayout" Target="../slideLayouts/slideLayout595.xml"/><Relationship Id="rId200" Type="http://schemas.openxmlformats.org/officeDocument/2006/relationships/slideLayout" Target="../slideLayouts/slideLayout217.xml"/><Relationship Id="rId382" Type="http://schemas.openxmlformats.org/officeDocument/2006/relationships/slideLayout" Target="../slideLayouts/slideLayout399.xml"/><Relationship Id="rId438" Type="http://schemas.openxmlformats.org/officeDocument/2006/relationships/slideLayout" Target="../slideLayouts/slideLayout455.xml"/><Relationship Id="rId603" Type="http://schemas.openxmlformats.org/officeDocument/2006/relationships/slideLayout" Target="../slideLayouts/slideLayout620.xml"/><Relationship Id="rId242" Type="http://schemas.openxmlformats.org/officeDocument/2006/relationships/slideLayout" Target="../slideLayouts/slideLayout259.xml"/><Relationship Id="rId284" Type="http://schemas.openxmlformats.org/officeDocument/2006/relationships/slideLayout" Target="../slideLayouts/slideLayout301.xml"/><Relationship Id="rId491" Type="http://schemas.openxmlformats.org/officeDocument/2006/relationships/slideLayout" Target="../slideLayouts/slideLayout508.xml"/><Relationship Id="rId505" Type="http://schemas.openxmlformats.org/officeDocument/2006/relationships/slideLayout" Target="../slideLayouts/slideLayout522.xml"/><Relationship Id="rId37" Type="http://schemas.openxmlformats.org/officeDocument/2006/relationships/slideLayout" Target="../slideLayouts/slideLayout54.xml"/><Relationship Id="rId79" Type="http://schemas.openxmlformats.org/officeDocument/2006/relationships/slideLayout" Target="../slideLayouts/slideLayout96.xml"/><Relationship Id="rId102" Type="http://schemas.openxmlformats.org/officeDocument/2006/relationships/slideLayout" Target="../slideLayouts/slideLayout119.xml"/><Relationship Id="rId144" Type="http://schemas.openxmlformats.org/officeDocument/2006/relationships/slideLayout" Target="../slideLayouts/slideLayout161.xml"/><Relationship Id="rId547" Type="http://schemas.openxmlformats.org/officeDocument/2006/relationships/slideLayout" Target="../slideLayouts/slideLayout564.xml"/><Relationship Id="rId589" Type="http://schemas.openxmlformats.org/officeDocument/2006/relationships/slideLayout" Target="../slideLayouts/slideLayout606.xml"/><Relationship Id="rId90" Type="http://schemas.openxmlformats.org/officeDocument/2006/relationships/slideLayout" Target="../slideLayouts/slideLayout107.xml"/><Relationship Id="rId186" Type="http://schemas.openxmlformats.org/officeDocument/2006/relationships/slideLayout" Target="../slideLayouts/slideLayout203.xml"/><Relationship Id="rId351" Type="http://schemas.openxmlformats.org/officeDocument/2006/relationships/slideLayout" Target="../slideLayouts/slideLayout368.xml"/><Relationship Id="rId393" Type="http://schemas.openxmlformats.org/officeDocument/2006/relationships/slideLayout" Target="../slideLayouts/slideLayout410.xml"/><Relationship Id="rId407" Type="http://schemas.openxmlformats.org/officeDocument/2006/relationships/slideLayout" Target="../slideLayouts/slideLayout424.xml"/><Relationship Id="rId449" Type="http://schemas.openxmlformats.org/officeDocument/2006/relationships/slideLayout" Target="../slideLayouts/slideLayout466.xml"/><Relationship Id="rId614" Type="http://schemas.openxmlformats.org/officeDocument/2006/relationships/slideLayout" Target="../slideLayouts/slideLayout631.xml"/><Relationship Id="rId211" Type="http://schemas.openxmlformats.org/officeDocument/2006/relationships/slideLayout" Target="../slideLayouts/slideLayout228.xml"/><Relationship Id="rId253" Type="http://schemas.openxmlformats.org/officeDocument/2006/relationships/slideLayout" Target="../slideLayouts/slideLayout270.xml"/><Relationship Id="rId295" Type="http://schemas.openxmlformats.org/officeDocument/2006/relationships/slideLayout" Target="../slideLayouts/slideLayout312.xml"/><Relationship Id="rId309" Type="http://schemas.openxmlformats.org/officeDocument/2006/relationships/slideLayout" Target="../slideLayouts/slideLayout326.xml"/><Relationship Id="rId460" Type="http://schemas.openxmlformats.org/officeDocument/2006/relationships/slideLayout" Target="../slideLayouts/slideLayout477.xml"/><Relationship Id="rId516" Type="http://schemas.openxmlformats.org/officeDocument/2006/relationships/slideLayout" Target="../slideLayouts/slideLayout533.xml"/><Relationship Id="rId48" Type="http://schemas.openxmlformats.org/officeDocument/2006/relationships/slideLayout" Target="../slideLayouts/slideLayout65.xml"/><Relationship Id="rId113" Type="http://schemas.openxmlformats.org/officeDocument/2006/relationships/slideLayout" Target="../slideLayouts/slideLayout130.xml"/><Relationship Id="rId320" Type="http://schemas.openxmlformats.org/officeDocument/2006/relationships/slideLayout" Target="../slideLayouts/slideLayout337.xml"/><Relationship Id="rId558" Type="http://schemas.openxmlformats.org/officeDocument/2006/relationships/slideLayout" Target="../slideLayouts/slideLayout575.xml"/><Relationship Id="rId155" Type="http://schemas.openxmlformats.org/officeDocument/2006/relationships/slideLayout" Target="../slideLayouts/slideLayout172.xml"/><Relationship Id="rId197" Type="http://schemas.openxmlformats.org/officeDocument/2006/relationships/slideLayout" Target="../slideLayouts/slideLayout214.xml"/><Relationship Id="rId362" Type="http://schemas.openxmlformats.org/officeDocument/2006/relationships/slideLayout" Target="../slideLayouts/slideLayout379.xml"/><Relationship Id="rId418" Type="http://schemas.openxmlformats.org/officeDocument/2006/relationships/slideLayout" Target="../slideLayouts/slideLayout435.xml"/><Relationship Id="rId222" Type="http://schemas.openxmlformats.org/officeDocument/2006/relationships/slideLayout" Target="../slideLayouts/slideLayout239.xml"/><Relationship Id="rId264" Type="http://schemas.openxmlformats.org/officeDocument/2006/relationships/slideLayout" Target="../slideLayouts/slideLayout281.xml"/><Relationship Id="rId471" Type="http://schemas.openxmlformats.org/officeDocument/2006/relationships/slideLayout" Target="../slideLayouts/slideLayout488.xml"/><Relationship Id="rId17" Type="http://schemas.openxmlformats.org/officeDocument/2006/relationships/slideLayout" Target="../slideLayouts/slideLayout34.xml"/><Relationship Id="rId59" Type="http://schemas.openxmlformats.org/officeDocument/2006/relationships/slideLayout" Target="../slideLayouts/slideLayout76.xml"/><Relationship Id="rId124" Type="http://schemas.openxmlformats.org/officeDocument/2006/relationships/slideLayout" Target="../slideLayouts/slideLayout141.xml"/><Relationship Id="rId527" Type="http://schemas.openxmlformats.org/officeDocument/2006/relationships/slideLayout" Target="../slideLayouts/slideLayout544.xml"/><Relationship Id="rId569" Type="http://schemas.openxmlformats.org/officeDocument/2006/relationships/slideLayout" Target="../slideLayouts/slideLayout586.xml"/><Relationship Id="rId70" Type="http://schemas.openxmlformats.org/officeDocument/2006/relationships/slideLayout" Target="../slideLayouts/slideLayout87.xml"/><Relationship Id="rId166" Type="http://schemas.openxmlformats.org/officeDocument/2006/relationships/slideLayout" Target="../slideLayouts/slideLayout183.xml"/><Relationship Id="rId331" Type="http://schemas.openxmlformats.org/officeDocument/2006/relationships/slideLayout" Target="../slideLayouts/slideLayout348.xml"/><Relationship Id="rId373" Type="http://schemas.openxmlformats.org/officeDocument/2006/relationships/slideLayout" Target="../slideLayouts/slideLayout390.xml"/><Relationship Id="rId429" Type="http://schemas.openxmlformats.org/officeDocument/2006/relationships/slideLayout" Target="../slideLayouts/slideLayout446.xml"/><Relationship Id="rId580" Type="http://schemas.openxmlformats.org/officeDocument/2006/relationships/slideLayout" Target="../slideLayouts/slideLayout597.xml"/><Relationship Id="rId1" Type="http://schemas.openxmlformats.org/officeDocument/2006/relationships/slideLayout" Target="../slideLayouts/slideLayout18.xml"/><Relationship Id="rId233" Type="http://schemas.openxmlformats.org/officeDocument/2006/relationships/slideLayout" Target="../slideLayouts/slideLayout250.xml"/><Relationship Id="rId440" Type="http://schemas.openxmlformats.org/officeDocument/2006/relationships/slideLayout" Target="../slideLayouts/slideLayout457.xml"/><Relationship Id="rId28" Type="http://schemas.openxmlformats.org/officeDocument/2006/relationships/slideLayout" Target="../slideLayouts/slideLayout45.xml"/><Relationship Id="rId275" Type="http://schemas.openxmlformats.org/officeDocument/2006/relationships/slideLayout" Target="../slideLayouts/slideLayout292.xml"/><Relationship Id="rId300" Type="http://schemas.openxmlformats.org/officeDocument/2006/relationships/slideLayout" Target="../slideLayouts/slideLayout317.xml"/><Relationship Id="rId482" Type="http://schemas.openxmlformats.org/officeDocument/2006/relationships/slideLayout" Target="../slideLayouts/slideLayout499.xml"/><Relationship Id="rId538" Type="http://schemas.openxmlformats.org/officeDocument/2006/relationships/slideLayout" Target="../slideLayouts/slideLayout555.xml"/><Relationship Id="rId81" Type="http://schemas.openxmlformats.org/officeDocument/2006/relationships/slideLayout" Target="../slideLayouts/slideLayout98.xml"/><Relationship Id="rId135" Type="http://schemas.openxmlformats.org/officeDocument/2006/relationships/slideLayout" Target="../slideLayouts/slideLayout152.xml"/><Relationship Id="rId177" Type="http://schemas.openxmlformats.org/officeDocument/2006/relationships/slideLayout" Target="../slideLayouts/slideLayout194.xml"/><Relationship Id="rId342" Type="http://schemas.openxmlformats.org/officeDocument/2006/relationships/slideLayout" Target="../slideLayouts/slideLayout359.xml"/><Relationship Id="rId384" Type="http://schemas.openxmlformats.org/officeDocument/2006/relationships/slideLayout" Target="../slideLayouts/slideLayout401.xml"/><Relationship Id="rId591" Type="http://schemas.openxmlformats.org/officeDocument/2006/relationships/slideLayout" Target="../slideLayouts/slideLayout608.xml"/><Relationship Id="rId605" Type="http://schemas.openxmlformats.org/officeDocument/2006/relationships/slideLayout" Target="../slideLayouts/slideLayout622.xml"/><Relationship Id="rId202" Type="http://schemas.openxmlformats.org/officeDocument/2006/relationships/slideLayout" Target="../slideLayouts/slideLayout219.xml"/><Relationship Id="rId244" Type="http://schemas.openxmlformats.org/officeDocument/2006/relationships/slideLayout" Target="../slideLayouts/slideLayout261.xml"/><Relationship Id="rId39" Type="http://schemas.openxmlformats.org/officeDocument/2006/relationships/slideLayout" Target="../slideLayouts/slideLayout56.xml"/><Relationship Id="rId286" Type="http://schemas.openxmlformats.org/officeDocument/2006/relationships/slideLayout" Target="../slideLayouts/slideLayout303.xml"/><Relationship Id="rId451" Type="http://schemas.openxmlformats.org/officeDocument/2006/relationships/slideLayout" Target="../slideLayouts/slideLayout468.xml"/><Relationship Id="rId493" Type="http://schemas.openxmlformats.org/officeDocument/2006/relationships/slideLayout" Target="../slideLayouts/slideLayout510.xml"/><Relationship Id="rId507" Type="http://schemas.openxmlformats.org/officeDocument/2006/relationships/slideLayout" Target="../slideLayouts/slideLayout524.xml"/><Relationship Id="rId549" Type="http://schemas.openxmlformats.org/officeDocument/2006/relationships/slideLayout" Target="../slideLayouts/slideLayout566.xml"/><Relationship Id="rId50" Type="http://schemas.openxmlformats.org/officeDocument/2006/relationships/slideLayout" Target="../slideLayouts/slideLayout67.xml"/><Relationship Id="rId104" Type="http://schemas.openxmlformats.org/officeDocument/2006/relationships/slideLayout" Target="../slideLayouts/slideLayout121.xml"/><Relationship Id="rId146" Type="http://schemas.openxmlformats.org/officeDocument/2006/relationships/slideLayout" Target="../slideLayouts/slideLayout163.xml"/><Relationship Id="rId188" Type="http://schemas.openxmlformats.org/officeDocument/2006/relationships/slideLayout" Target="../slideLayouts/slideLayout205.xml"/><Relationship Id="rId311" Type="http://schemas.openxmlformats.org/officeDocument/2006/relationships/slideLayout" Target="../slideLayouts/slideLayout328.xml"/><Relationship Id="rId353" Type="http://schemas.openxmlformats.org/officeDocument/2006/relationships/slideLayout" Target="../slideLayouts/slideLayout370.xml"/><Relationship Id="rId395" Type="http://schemas.openxmlformats.org/officeDocument/2006/relationships/slideLayout" Target="../slideLayouts/slideLayout412.xml"/><Relationship Id="rId409" Type="http://schemas.openxmlformats.org/officeDocument/2006/relationships/slideLayout" Target="../slideLayouts/slideLayout426.xml"/><Relationship Id="rId560" Type="http://schemas.openxmlformats.org/officeDocument/2006/relationships/slideLayout" Target="../slideLayouts/slideLayout577.xml"/><Relationship Id="rId92" Type="http://schemas.openxmlformats.org/officeDocument/2006/relationships/slideLayout" Target="../slideLayouts/slideLayout109.xml"/><Relationship Id="rId213" Type="http://schemas.openxmlformats.org/officeDocument/2006/relationships/slideLayout" Target="../slideLayouts/slideLayout230.xml"/><Relationship Id="rId420" Type="http://schemas.openxmlformats.org/officeDocument/2006/relationships/slideLayout" Target="../slideLayouts/slideLayout437.xml"/><Relationship Id="rId616" Type="http://schemas.openxmlformats.org/officeDocument/2006/relationships/slideLayout" Target="../slideLayouts/slideLayout633.xml"/><Relationship Id="rId255" Type="http://schemas.openxmlformats.org/officeDocument/2006/relationships/slideLayout" Target="../slideLayouts/slideLayout272.xml"/><Relationship Id="rId297" Type="http://schemas.openxmlformats.org/officeDocument/2006/relationships/slideLayout" Target="../slideLayouts/slideLayout314.xml"/><Relationship Id="rId462" Type="http://schemas.openxmlformats.org/officeDocument/2006/relationships/slideLayout" Target="../slideLayouts/slideLayout479.xml"/><Relationship Id="rId518" Type="http://schemas.openxmlformats.org/officeDocument/2006/relationships/slideLayout" Target="../slideLayouts/slideLayout535.xml"/><Relationship Id="rId115" Type="http://schemas.openxmlformats.org/officeDocument/2006/relationships/slideLayout" Target="../slideLayouts/slideLayout132.xml"/><Relationship Id="rId157" Type="http://schemas.openxmlformats.org/officeDocument/2006/relationships/slideLayout" Target="../slideLayouts/slideLayout174.xml"/><Relationship Id="rId322" Type="http://schemas.openxmlformats.org/officeDocument/2006/relationships/slideLayout" Target="../slideLayouts/slideLayout339.xml"/><Relationship Id="rId364" Type="http://schemas.openxmlformats.org/officeDocument/2006/relationships/slideLayout" Target="../slideLayouts/slideLayout381.xml"/><Relationship Id="rId61" Type="http://schemas.openxmlformats.org/officeDocument/2006/relationships/slideLayout" Target="../slideLayouts/slideLayout78.xml"/><Relationship Id="rId199" Type="http://schemas.openxmlformats.org/officeDocument/2006/relationships/slideLayout" Target="../slideLayouts/slideLayout216.xml"/><Relationship Id="rId571" Type="http://schemas.openxmlformats.org/officeDocument/2006/relationships/slideLayout" Target="../slideLayouts/slideLayout588.xml"/><Relationship Id="rId19" Type="http://schemas.openxmlformats.org/officeDocument/2006/relationships/slideLayout" Target="../slideLayouts/slideLayout36.xml"/><Relationship Id="rId224" Type="http://schemas.openxmlformats.org/officeDocument/2006/relationships/slideLayout" Target="../slideLayouts/slideLayout241.xml"/><Relationship Id="rId266" Type="http://schemas.openxmlformats.org/officeDocument/2006/relationships/slideLayout" Target="../slideLayouts/slideLayout283.xml"/><Relationship Id="rId431" Type="http://schemas.openxmlformats.org/officeDocument/2006/relationships/slideLayout" Target="../slideLayouts/slideLayout448.xml"/><Relationship Id="rId473" Type="http://schemas.openxmlformats.org/officeDocument/2006/relationships/slideLayout" Target="../slideLayouts/slideLayout490.xml"/><Relationship Id="rId529" Type="http://schemas.openxmlformats.org/officeDocument/2006/relationships/slideLayout" Target="../slideLayouts/slideLayout546.xml"/><Relationship Id="rId30" Type="http://schemas.openxmlformats.org/officeDocument/2006/relationships/slideLayout" Target="../slideLayouts/slideLayout47.xml"/><Relationship Id="rId126" Type="http://schemas.openxmlformats.org/officeDocument/2006/relationships/slideLayout" Target="../slideLayouts/slideLayout143.xml"/><Relationship Id="rId168" Type="http://schemas.openxmlformats.org/officeDocument/2006/relationships/slideLayout" Target="../slideLayouts/slideLayout185.xml"/><Relationship Id="rId333" Type="http://schemas.openxmlformats.org/officeDocument/2006/relationships/slideLayout" Target="../slideLayouts/slideLayout350.xml"/><Relationship Id="rId540" Type="http://schemas.openxmlformats.org/officeDocument/2006/relationships/slideLayout" Target="../slideLayouts/slideLayout557.xml"/><Relationship Id="rId72" Type="http://schemas.openxmlformats.org/officeDocument/2006/relationships/slideLayout" Target="../slideLayouts/slideLayout89.xml"/><Relationship Id="rId375" Type="http://schemas.openxmlformats.org/officeDocument/2006/relationships/slideLayout" Target="../slideLayouts/slideLayout392.xml"/><Relationship Id="rId582" Type="http://schemas.openxmlformats.org/officeDocument/2006/relationships/slideLayout" Target="../slideLayouts/slideLayout599.xml"/><Relationship Id="rId3" Type="http://schemas.openxmlformats.org/officeDocument/2006/relationships/slideLayout" Target="../slideLayouts/slideLayout20.xml"/><Relationship Id="rId235" Type="http://schemas.openxmlformats.org/officeDocument/2006/relationships/slideLayout" Target="../slideLayouts/slideLayout252.xml"/><Relationship Id="rId277" Type="http://schemas.openxmlformats.org/officeDocument/2006/relationships/slideLayout" Target="../slideLayouts/slideLayout294.xml"/><Relationship Id="rId400" Type="http://schemas.openxmlformats.org/officeDocument/2006/relationships/slideLayout" Target="../slideLayouts/slideLayout417.xml"/><Relationship Id="rId442" Type="http://schemas.openxmlformats.org/officeDocument/2006/relationships/slideLayout" Target="../slideLayouts/slideLayout459.xml"/><Relationship Id="rId484" Type="http://schemas.openxmlformats.org/officeDocument/2006/relationships/slideLayout" Target="../slideLayouts/slideLayout501.xml"/><Relationship Id="rId137" Type="http://schemas.openxmlformats.org/officeDocument/2006/relationships/slideLayout" Target="../slideLayouts/slideLayout154.xml"/><Relationship Id="rId302" Type="http://schemas.openxmlformats.org/officeDocument/2006/relationships/slideLayout" Target="../slideLayouts/slideLayout319.xml"/><Relationship Id="rId344" Type="http://schemas.openxmlformats.org/officeDocument/2006/relationships/slideLayout" Target="../slideLayouts/slideLayout361.xml"/><Relationship Id="rId41" Type="http://schemas.openxmlformats.org/officeDocument/2006/relationships/slideLayout" Target="../slideLayouts/slideLayout58.xml"/><Relationship Id="rId83" Type="http://schemas.openxmlformats.org/officeDocument/2006/relationships/slideLayout" Target="../slideLayouts/slideLayout100.xml"/><Relationship Id="rId179" Type="http://schemas.openxmlformats.org/officeDocument/2006/relationships/slideLayout" Target="../slideLayouts/slideLayout196.xml"/><Relationship Id="rId386" Type="http://schemas.openxmlformats.org/officeDocument/2006/relationships/slideLayout" Target="../slideLayouts/slideLayout403.xml"/><Relationship Id="rId551" Type="http://schemas.openxmlformats.org/officeDocument/2006/relationships/slideLayout" Target="../slideLayouts/slideLayout568.xml"/><Relationship Id="rId593" Type="http://schemas.openxmlformats.org/officeDocument/2006/relationships/slideLayout" Target="../slideLayouts/slideLayout610.xml"/><Relationship Id="rId607" Type="http://schemas.openxmlformats.org/officeDocument/2006/relationships/slideLayout" Target="../slideLayouts/slideLayout624.xml"/><Relationship Id="rId190" Type="http://schemas.openxmlformats.org/officeDocument/2006/relationships/slideLayout" Target="../slideLayouts/slideLayout207.xml"/><Relationship Id="rId204" Type="http://schemas.openxmlformats.org/officeDocument/2006/relationships/slideLayout" Target="../slideLayouts/slideLayout221.xml"/><Relationship Id="rId246" Type="http://schemas.openxmlformats.org/officeDocument/2006/relationships/slideLayout" Target="../slideLayouts/slideLayout263.xml"/><Relationship Id="rId288" Type="http://schemas.openxmlformats.org/officeDocument/2006/relationships/slideLayout" Target="../slideLayouts/slideLayout305.xml"/><Relationship Id="rId411" Type="http://schemas.openxmlformats.org/officeDocument/2006/relationships/slideLayout" Target="../slideLayouts/slideLayout428.xml"/><Relationship Id="rId453" Type="http://schemas.openxmlformats.org/officeDocument/2006/relationships/slideLayout" Target="../slideLayouts/slideLayout470.xml"/><Relationship Id="rId509" Type="http://schemas.openxmlformats.org/officeDocument/2006/relationships/slideLayout" Target="../slideLayouts/slideLayout526.xml"/><Relationship Id="rId106" Type="http://schemas.openxmlformats.org/officeDocument/2006/relationships/slideLayout" Target="../slideLayouts/slideLayout123.xml"/><Relationship Id="rId313" Type="http://schemas.openxmlformats.org/officeDocument/2006/relationships/slideLayout" Target="../slideLayouts/slideLayout330.xml"/><Relationship Id="rId495" Type="http://schemas.openxmlformats.org/officeDocument/2006/relationships/slideLayout" Target="../slideLayouts/slideLayout512.xml"/><Relationship Id="rId10" Type="http://schemas.openxmlformats.org/officeDocument/2006/relationships/slideLayout" Target="../slideLayouts/slideLayout27.xml"/><Relationship Id="rId52" Type="http://schemas.openxmlformats.org/officeDocument/2006/relationships/slideLayout" Target="../slideLayouts/slideLayout69.xml"/><Relationship Id="rId94" Type="http://schemas.openxmlformats.org/officeDocument/2006/relationships/slideLayout" Target="../slideLayouts/slideLayout111.xml"/><Relationship Id="rId148" Type="http://schemas.openxmlformats.org/officeDocument/2006/relationships/slideLayout" Target="../slideLayouts/slideLayout165.xml"/><Relationship Id="rId355" Type="http://schemas.openxmlformats.org/officeDocument/2006/relationships/slideLayout" Target="../slideLayouts/slideLayout372.xml"/><Relationship Id="rId397" Type="http://schemas.openxmlformats.org/officeDocument/2006/relationships/slideLayout" Target="../slideLayouts/slideLayout414.xml"/><Relationship Id="rId520" Type="http://schemas.openxmlformats.org/officeDocument/2006/relationships/slideLayout" Target="../slideLayouts/slideLayout537.xml"/><Relationship Id="rId562" Type="http://schemas.openxmlformats.org/officeDocument/2006/relationships/slideLayout" Target="../slideLayouts/slideLayout579.xml"/><Relationship Id="rId618" Type="http://schemas.openxmlformats.org/officeDocument/2006/relationships/slideLayout" Target="../slideLayouts/slideLayout635.xml"/><Relationship Id="rId215" Type="http://schemas.openxmlformats.org/officeDocument/2006/relationships/slideLayout" Target="../slideLayouts/slideLayout232.xml"/><Relationship Id="rId257" Type="http://schemas.openxmlformats.org/officeDocument/2006/relationships/slideLayout" Target="../slideLayouts/slideLayout274.xml"/><Relationship Id="rId422" Type="http://schemas.openxmlformats.org/officeDocument/2006/relationships/slideLayout" Target="../slideLayouts/slideLayout439.xml"/><Relationship Id="rId464" Type="http://schemas.openxmlformats.org/officeDocument/2006/relationships/slideLayout" Target="../slideLayouts/slideLayout481.xml"/><Relationship Id="rId299" Type="http://schemas.openxmlformats.org/officeDocument/2006/relationships/slideLayout" Target="../slideLayouts/slideLayout316.xml"/><Relationship Id="rId63" Type="http://schemas.openxmlformats.org/officeDocument/2006/relationships/slideLayout" Target="../slideLayouts/slideLayout80.xml"/><Relationship Id="rId159" Type="http://schemas.openxmlformats.org/officeDocument/2006/relationships/slideLayout" Target="../slideLayouts/slideLayout176.xml"/><Relationship Id="rId366" Type="http://schemas.openxmlformats.org/officeDocument/2006/relationships/slideLayout" Target="../slideLayouts/slideLayout383.xml"/><Relationship Id="rId573" Type="http://schemas.openxmlformats.org/officeDocument/2006/relationships/slideLayout" Target="../slideLayouts/slideLayout590.xml"/><Relationship Id="rId226" Type="http://schemas.openxmlformats.org/officeDocument/2006/relationships/slideLayout" Target="../slideLayouts/slideLayout243.xml"/><Relationship Id="rId433" Type="http://schemas.openxmlformats.org/officeDocument/2006/relationships/slideLayout" Target="../slideLayouts/slideLayout450.xml"/><Relationship Id="rId74" Type="http://schemas.openxmlformats.org/officeDocument/2006/relationships/slideLayout" Target="../slideLayouts/slideLayout91.xml"/><Relationship Id="rId377" Type="http://schemas.openxmlformats.org/officeDocument/2006/relationships/slideLayout" Target="../slideLayouts/slideLayout394.xml"/><Relationship Id="rId500" Type="http://schemas.openxmlformats.org/officeDocument/2006/relationships/slideLayout" Target="../slideLayouts/slideLayout517.xml"/><Relationship Id="rId584" Type="http://schemas.openxmlformats.org/officeDocument/2006/relationships/slideLayout" Target="../slideLayouts/slideLayout601.xml"/><Relationship Id="rId5" Type="http://schemas.openxmlformats.org/officeDocument/2006/relationships/slideLayout" Target="../slideLayouts/slideLayout22.xml"/><Relationship Id="rId237" Type="http://schemas.openxmlformats.org/officeDocument/2006/relationships/slideLayout" Target="../slideLayouts/slideLayout254.xml"/><Relationship Id="rId444" Type="http://schemas.openxmlformats.org/officeDocument/2006/relationships/slideLayout" Target="../slideLayouts/slideLayout461.xml"/><Relationship Id="rId290" Type="http://schemas.openxmlformats.org/officeDocument/2006/relationships/slideLayout" Target="../slideLayouts/slideLayout307.xml"/><Relationship Id="rId304" Type="http://schemas.openxmlformats.org/officeDocument/2006/relationships/slideLayout" Target="../slideLayouts/slideLayout321.xml"/><Relationship Id="rId388" Type="http://schemas.openxmlformats.org/officeDocument/2006/relationships/slideLayout" Target="../slideLayouts/slideLayout405.xml"/><Relationship Id="rId511" Type="http://schemas.openxmlformats.org/officeDocument/2006/relationships/slideLayout" Target="../slideLayouts/slideLayout528.xml"/><Relationship Id="rId609" Type="http://schemas.openxmlformats.org/officeDocument/2006/relationships/slideLayout" Target="../slideLayouts/slideLayout626.xml"/><Relationship Id="rId85" Type="http://schemas.openxmlformats.org/officeDocument/2006/relationships/slideLayout" Target="../slideLayouts/slideLayout102.xml"/><Relationship Id="rId150" Type="http://schemas.openxmlformats.org/officeDocument/2006/relationships/slideLayout" Target="../slideLayouts/slideLayout167.xml"/><Relationship Id="rId595" Type="http://schemas.openxmlformats.org/officeDocument/2006/relationships/slideLayout" Target="../slideLayouts/slideLayout612.xml"/><Relationship Id="rId248" Type="http://schemas.openxmlformats.org/officeDocument/2006/relationships/slideLayout" Target="../slideLayouts/slideLayout265.xml"/><Relationship Id="rId455" Type="http://schemas.openxmlformats.org/officeDocument/2006/relationships/slideLayout" Target="../slideLayouts/slideLayout472.xml"/><Relationship Id="rId12" Type="http://schemas.openxmlformats.org/officeDocument/2006/relationships/slideLayout" Target="../slideLayouts/slideLayout29.xml"/><Relationship Id="rId108" Type="http://schemas.openxmlformats.org/officeDocument/2006/relationships/slideLayout" Target="../slideLayouts/slideLayout125.xml"/><Relationship Id="rId315" Type="http://schemas.openxmlformats.org/officeDocument/2006/relationships/slideLayout" Target="../slideLayouts/slideLayout332.xml"/><Relationship Id="rId522" Type="http://schemas.openxmlformats.org/officeDocument/2006/relationships/slideLayout" Target="../slideLayouts/slideLayout539.xml"/><Relationship Id="rId96" Type="http://schemas.openxmlformats.org/officeDocument/2006/relationships/slideLayout" Target="../slideLayouts/slideLayout113.xml"/><Relationship Id="rId161" Type="http://schemas.openxmlformats.org/officeDocument/2006/relationships/slideLayout" Target="../slideLayouts/slideLayout178.xml"/><Relationship Id="rId399" Type="http://schemas.openxmlformats.org/officeDocument/2006/relationships/slideLayout" Target="../slideLayouts/slideLayout416.xml"/><Relationship Id="rId259" Type="http://schemas.openxmlformats.org/officeDocument/2006/relationships/slideLayout" Target="../slideLayouts/slideLayout276.xml"/><Relationship Id="rId466" Type="http://schemas.openxmlformats.org/officeDocument/2006/relationships/slideLayout" Target="../slideLayouts/slideLayout483.xml"/><Relationship Id="rId23" Type="http://schemas.openxmlformats.org/officeDocument/2006/relationships/slideLayout" Target="../slideLayouts/slideLayout40.xml"/><Relationship Id="rId119" Type="http://schemas.openxmlformats.org/officeDocument/2006/relationships/slideLayout" Target="../slideLayouts/slideLayout136.xml"/><Relationship Id="rId326" Type="http://schemas.openxmlformats.org/officeDocument/2006/relationships/slideLayout" Target="../slideLayouts/slideLayout343.xml"/><Relationship Id="rId533" Type="http://schemas.openxmlformats.org/officeDocument/2006/relationships/slideLayout" Target="../slideLayouts/slideLayout550.xml"/><Relationship Id="rId172" Type="http://schemas.openxmlformats.org/officeDocument/2006/relationships/slideLayout" Target="../slideLayouts/slideLayout189.xml"/><Relationship Id="rId477" Type="http://schemas.openxmlformats.org/officeDocument/2006/relationships/slideLayout" Target="../slideLayouts/slideLayout494.xml"/><Relationship Id="rId600" Type="http://schemas.openxmlformats.org/officeDocument/2006/relationships/slideLayout" Target="../slideLayouts/slideLayout617.xml"/><Relationship Id="rId337" Type="http://schemas.openxmlformats.org/officeDocument/2006/relationships/slideLayout" Target="../slideLayouts/slideLayout354.xml"/><Relationship Id="rId34" Type="http://schemas.openxmlformats.org/officeDocument/2006/relationships/slideLayout" Target="../slideLayouts/slideLayout51.xml"/><Relationship Id="rId544" Type="http://schemas.openxmlformats.org/officeDocument/2006/relationships/slideLayout" Target="../slideLayouts/slideLayout561.xml"/><Relationship Id="rId183" Type="http://schemas.openxmlformats.org/officeDocument/2006/relationships/slideLayout" Target="../slideLayouts/slideLayout200.xml"/><Relationship Id="rId390" Type="http://schemas.openxmlformats.org/officeDocument/2006/relationships/slideLayout" Target="../slideLayouts/slideLayout407.xml"/><Relationship Id="rId404" Type="http://schemas.openxmlformats.org/officeDocument/2006/relationships/slideLayout" Target="../slideLayouts/slideLayout421.xml"/><Relationship Id="rId611" Type="http://schemas.openxmlformats.org/officeDocument/2006/relationships/slideLayout" Target="../slideLayouts/slideLayout628.xml"/><Relationship Id="rId250" Type="http://schemas.openxmlformats.org/officeDocument/2006/relationships/slideLayout" Target="../slideLayouts/slideLayout267.xml"/><Relationship Id="rId488" Type="http://schemas.openxmlformats.org/officeDocument/2006/relationships/slideLayout" Target="../slideLayouts/slideLayout505.xml"/><Relationship Id="rId45" Type="http://schemas.openxmlformats.org/officeDocument/2006/relationships/slideLayout" Target="../slideLayouts/slideLayout62.xml"/><Relationship Id="rId110" Type="http://schemas.openxmlformats.org/officeDocument/2006/relationships/slideLayout" Target="../slideLayouts/slideLayout127.xml"/><Relationship Id="rId348" Type="http://schemas.openxmlformats.org/officeDocument/2006/relationships/slideLayout" Target="../slideLayouts/slideLayout365.xml"/><Relationship Id="rId555" Type="http://schemas.openxmlformats.org/officeDocument/2006/relationships/slideLayout" Target="../slideLayouts/slideLayout572.xml"/><Relationship Id="rId194" Type="http://schemas.openxmlformats.org/officeDocument/2006/relationships/slideLayout" Target="../slideLayouts/slideLayout211.xml"/><Relationship Id="rId208" Type="http://schemas.openxmlformats.org/officeDocument/2006/relationships/slideLayout" Target="../slideLayouts/slideLayout225.xml"/><Relationship Id="rId415" Type="http://schemas.openxmlformats.org/officeDocument/2006/relationships/slideLayout" Target="../slideLayouts/slideLayout432.xml"/><Relationship Id="rId261" Type="http://schemas.openxmlformats.org/officeDocument/2006/relationships/slideLayout" Target="../slideLayouts/slideLayout278.xml"/><Relationship Id="rId499" Type="http://schemas.openxmlformats.org/officeDocument/2006/relationships/slideLayout" Target="../slideLayouts/slideLayout516.xml"/><Relationship Id="rId56" Type="http://schemas.openxmlformats.org/officeDocument/2006/relationships/slideLayout" Target="../slideLayouts/slideLayout73.xml"/><Relationship Id="rId359" Type="http://schemas.openxmlformats.org/officeDocument/2006/relationships/slideLayout" Target="../slideLayouts/slideLayout376.xml"/><Relationship Id="rId566" Type="http://schemas.openxmlformats.org/officeDocument/2006/relationships/slideLayout" Target="../slideLayouts/slideLayout583.xml"/><Relationship Id="rId121" Type="http://schemas.openxmlformats.org/officeDocument/2006/relationships/slideLayout" Target="../slideLayouts/slideLayout138.xml"/><Relationship Id="rId219" Type="http://schemas.openxmlformats.org/officeDocument/2006/relationships/slideLayout" Target="../slideLayouts/slideLayout236.xml"/><Relationship Id="rId426" Type="http://schemas.openxmlformats.org/officeDocument/2006/relationships/slideLayout" Target="../slideLayouts/slideLayout443.xml"/><Relationship Id="rId67" Type="http://schemas.openxmlformats.org/officeDocument/2006/relationships/slideLayout" Target="../slideLayouts/slideLayout84.xml"/><Relationship Id="rId272" Type="http://schemas.openxmlformats.org/officeDocument/2006/relationships/slideLayout" Target="../slideLayouts/slideLayout289.xml"/><Relationship Id="rId577" Type="http://schemas.openxmlformats.org/officeDocument/2006/relationships/slideLayout" Target="../slideLayouts/slideLayout59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4.xml"/><Relationship Id="rId13" Type="http://schemas.openxmlformats.org/officeDocument/2006/relationships/slideLayout" Target="../slideLayouts/slideLayout649.xml"/><Relationship Id="rId18" Type="http://schemas.openxmlformats.org/officeDocument/2006/relationships/slideLayout" Target="../slideLayouts/slideLayout654.xml"/><Relationship Id="rId26" Type="http://schemas.openxmlformats.org/officeDocument/2006/relationships/slideLayout" Target="../slideLayouts/slideLayout662.xml"/><Relationship Id="rId3" Type="http://schemas.openxmlformats.org/officeDocument/2006/relationships/slideLayout" Target="../slideLayouts/slideLayout639.xml"/><Relationship Id="rId21" Type="http://schemas.openxmlformats.org/officeDocument/2006/relationships/slideLayout" Target="../slideLayouts/slideLayout657.xml"/><Relationship Id="rId7" Type="http://schemas.openxmlformats.org/officeDocument/2006/relationships/slideLayout" Target="../slideLayouts/slideLayout643.xml"/><Relationship Id="rId12" Type="http://schemas.openxmlformats.org/officeDocument/2006/relationships/slideLayout" Target="../slideLayouts/slideLayout648.xml"/><Relationship Id="rId17" Type="http://schemas.openxmlformats.org/officeDocument/2006/relationships/slideLayout" Target="../slideLayouts/slideLayout653.xml"/><Relationship Id="rId25" Type="http://schemas.openxmlformats.org/officeDocument/2006/relationships/slideLayout" Target="../slideLayouts/slideLayout661.xml"/><Relationship Id="rId2" Type="http://schemas.openxmlformats.org/officeDocument/2006/relationships/slideLayout" Target="../slideLayouts/slideLayout638.xml"/><Relationship Id="rId16" Type="http://schemas.openxmlformats.org/officeDocument/2006/relationships/slideLayout" Target="../slideLayouts/slideLayout652.xml"/><Relationship Id="rId20" Type="http://schemas.openxmlformats.org/officeDocument/2006/relationships/slideLayout" Target="../slideLayouts/slideLayout656.xml"/><Relationship Id="rId29" Type="http://schemas.openxmlformats.org/officeDocument/2006/relationships/slideLayout" Target="../slideLayouts/slideLayout665.xml"/><Relationship Id="rId1" Type="http://schemas.openxmlformats.org/officeDocument/2006/relationships/slideLayout" Target="../slideLayouts/slideLayout637.xml"/><Relationship Id="rId6" Type="http://schemas.openxmlformats.org/officeDocument/2006/relationships/slideLayout" Target="../slideLayouts/slideLayout642.xml"/><Relationship Id="rId11" Type="http://schemas.openxmlformats.org/officeDocument/2006/relationships/slideLayout" Target="../slideLayouts/slideLayout647.xml"/><Relationship Id="rId24" Type="http://schemas.openxmlformats.org/officeDocument/2006/relationships/slideLayout" Target="../slideLayouts/slideLayout660.xml"/><Relationship Id="rId32" Type="http://schemas.openxmlformats.org/officeDocument/2006/relationships/theme" Target="../theme/theme3.xml"/><Relationship Id="rId5" Type="http://schemas.openxmlformats.org/officeDocument/2006/relationships/slideLayout" Target="../slideLayouts/slideLayout641.xml"/><Relationship Id="rId15" Type="http://schemas.openxmlformats.org/officeDocument/2006/relationships/slideLayout" Target="../slideLayouts/slideLayout651.xml"/><Relationship Id="rId23" Type="http://schemas.openxmlformats.org/officeDocument/2006/relationships/slideLayout" Target="../slideLayouts/slideLayout659.xml"/><Relationship Id="rId28" Type="http://schemas.openxmlformats.org/officeDocument/2006/relationships/slideLayout" Target="../slideLayouts/slideLayout664.xml"/><Relationship Id="rId10" Type="http://schemas.openxmlformats.org/officeDocument/2006/relationships/slideLayout" Target="../slideLayouts/slideLayout646.xml"/><Relationship Id="rId19" Type="http://schemas.openxmlformats.org/officeDocument/2006/relationships/slideLayout" Target="../slideLayouts/slideLayout655.xml"/><Relationship Id="rId31" Type="http://schemas.openxmlformats.org/officeDocument/2006/relationships/slideLayout" Target="../slideLayouts/slideLayout667.xml"/><Relationship Id="rId4" Type="http://schemas.openxmlformats.org/officeDocument/2006/relationships/slideLayout" Target="../slideLayouts/slideLayout640.xml"/><Relationship Id="rId9" Type="http://schemas.openxmlformats.org/officeDocument/2006/relationships/slideLayout" Target="../slideLayouts/slideLayout645.xml"/><Relationship Id="rId14" Type="http://schemas.openxmlformats.org/officeDocument/2006/relationships/slideLayout" Target="../slideLayouts/slideLayout650.xml"/><Relationship Id="rId22" Type="http://schemas.openxmlformats.org/officeDocument/2006/relationships/slideLayout" Target="../slideLayouts/slideLayout658.xml"/><Relationship Id="rId27" Type="http://schemas.openxmlformats.org/officeDocument/2006/relationships/slideLayout" Target="../slideLayouts/slideLayout663.xml"/><Relationship Id="rId30" Type="http://schemas.openxmlformats.org/officeDocument/2006/relationships/slideLayout" Target="../slideLayouts/slideLayout66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5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670.xml"/><Relationship Id="rId7" Type="http://schemas.openxmlformats.org/officeDocument/2006/relationships/slideLayout" Target="../slideLayouts/slideLayout674.xml"/><Relationship Id="rId12" Type="http://schemas.openxmlformats.org/officeDocument/2006/relationships/slideLayout" Target="../slideLayouts/slideLayout679.xml"/><Relationship Id="rId2" Type="http://schemas.openxmlformats.org/officeDocument/2006/relationships/slideLayout" Target="../slideLayouts/slideLayout669.xml"/><Relationship Id="rId1" Type="http://schemas.openxmlformats.org/officeDocument/2006/relationships/slideLayout" Target="../slideLayouts/slideLayout668.xml"/><Relationship Id="rId6" Type="http://schemas.openxmlformats.org/officeDocument/2006/relationships/slideLayout" Target="../slideLayouts/slideLayout673.xml"/><Relationship Id="rId11" Type="http://schemas.openxmlformats.org/officeDocument/2006/relationships/slideLayout" Target="../slideLayouts/slideLayout678.xml"/><Relationship Id="rId5" Type="http://schemas.openxmlformats.org/officeDocument/2006/relationships/slideLayout" Target="../slideLayouts/slideLayout672.xml"/><Relationship Id="rId10" Type="http://schemas.openxmlformats.org/officeDocument/2006/relationships/slideLayout" Target="../slideLayouts/slideLayout677.xml"/><Relationship Id="rId4" Type="http://schemas.openxmlformats.org/officeDocument/2006/relationships/slideLayout" Target="../slideLayouts/slideLayout671.xml"/><Relationship Id="rId9" Type="http://schemas.openxmlformats.org/officeDocument/2006/relationships/slideLayout" Target="../slideLayouts/slideLayout676.xml"/><Relationship Id="rId14" Type="http://schemas.openxmlformats.org/officeDocument/2006/relationships/image" Target="../media/image99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9/16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716" r:id="rId1"/>
    <p:sldLayoutId id="2147488717" r:id="rId2"/>
    <p:sldLayoutId id="2147488718" r:id="rId3"/>
    <p:sldLayoutId id="2147488719" r:id="rId4"/>
    <p:sldLayoutId id="2147488720" r:id="rId5"/>
    <p:sldLayoutId id="2147488721" r:id="rId6"/>
    <p:sldLayoutId id="2147488722" r:id="rId7"/>
    <p:sldLayoutId id="2147488723" r:id="rId8"/>
    <p:sldLayoutId id="2147488724" r:id="rId9"/>
    <p:sldLayoutId id="2147488725" r:id="rId10"/>
    <p:sldLayoutId id="2147488726" r:id="rId11"/>
    <p:sldLayoutId id="2147488713" r:id="rId12"/>
    <p:sldLayoutId id="2147488714" r:id="rId13"/>
    <p:sldLayoutId id="2147488242" r:id="rId14"/>
    <p:sldLayoutId id="2147488326" r:id="rId15"/>
    <p:sldLayoutId id="2147488244" r:id="rId16"/>
    <p:sldLayoutId id="2147488245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78073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689" r:id="rId1"/>
    <p:sldLayoutId id="2147488690" r:id="rId2"/>
    <p:sldLayoutId id="2147488691" r:id="rId3"/>
    <p:sldLayoutId id="2147488692" r:id="rId4"/>
    <p:sldLayoutId id="2147488647" r:id="rId5"/>
    <p:sldLayoutId id="2147488648" r:id="rId6"/>
    <p:sldLayoutId id="2147488649" r:id="rId7"/>
    <p:sldLayoutId id="2147488650" r:id="rId8"/>
    <p:sldLayoutId id="2147485558" r:id="rId9"/>
    <p:sldLayoutId id="2147489546" r:id="rId10"/>
    <p:sldLayoutId id="2147489547" r:id="rId11"/>
    <p:sldLayoutId id="2147489548" r:id="rId12"/>
    <p:sldLayoutId id="2147489321" r:id="rId13"/>
    <p:sldLayoutId id="2147489322" r:id="rId14"/>
    <p:sldLayoutId id="2147485559" r:id="rId15"/>
    <p:sldLayoutId id="2147485560" r:id="rId16"/>
    <p:sldLayoutId id="2147485561" r:id="rId17"/>
    <p:sldLayoutId id="2147485562" r:id="rId18"/>
    <p:sldLayoutId id="2147485563" r:id="rId19"/>
    <p:sldLayoutId id="2147485564" r:id="rId20"/>
    <p:sldLayoutId id="2147485565" r:id="rId21"/>
    <p:sldLayoutId id="2147485566" r:id="rId22"/>
    <p:sldLayoutId id="2147485567" r:id="rId23"/>
    <p:sldLayoutId id="2147485568" r:id="rId24"/>
    <p:sldLayoutId id="2147488642" r:id="rId25"/>
    <p:sldLayoutId id="2147484557" r:id="rId26"/>
    <p:sldLayoutId id="2147484696" r:id="rId27"/>
    <p:sldLayoutId id="2147484656" r:id="rId28"/>
    <p:sldLayoutId id="2147488246" r:id="rId29"/>
    <p:sldLayoutId id="2147488247" r:id="rId30"/>
    <p:sldLayoutId id="2147488248" r:id="rId31"/>
    <p:sldLayoutId id="2147488249" r:id="rId32"/>
    <p:sldLayoutId id="2147488250" r:id="rId33"/>
    <p:sldLayoutId id="2147488251" r:id="rId34"/>
    <p:sldLayoutId id="2147488252" r:id="rId35"/>
    <p:sldLayoutId id="2147487028" r:id="rId36"/>
    <p:sldLayoutId id="2147489357" r:id="rId37"/>
    <p:sldLayoutId id="2147487029" r:id="rId38"/>
    <p:sldLayoutId id="2147487030" r:id="rId39"/>
    <p:sldLayoutId id="2147487031" r:id="rId40"/>
    <p:sldLayoutId id="2147487032" r:id="rId41"/>
    <p:sldLayoutId id="2147487033" r:id="rId42"/>
    <p:sldLayoutId id="2147487034" r:id="rId43"/>
    <p:sldLayoutId id="2147487035" r:id="rId44"/>
    <p:sldLayoutId id="2147487178" r:id="rId45"/>
    <p:sldLayoutId id="2147488651" r:id="rId46"/>
    <p:sldLayoutId id="2147488652" r:id="rId47"/>
    <p:sldLayoutId id="2147488653" r:id="rId48"/>
    <p:sldLayoutId id="2147488654" r:id="rId49"/>
    <p:sldLayoutId id="2147488655" r:id="rId50"/>
    <p:sldLayoutId id="2147488656" r:id="rId51"/>
    <p:sldLayoutId id="2147488657" r:id="rId52"/>
    <p:sldLayoutId id="2147488658" r:id="rId53"/>
    <p:sldLayoutId id="2147488659" r:id="rId54"/>
    <p:sldLayoutId id="2147488660" r:id="rId55"/>
    <p:sldLayoutId id="2147488661" r:id="rId56"/>
    <p:sldLayoutId id="2147488662" r:id="rId57"/>
    <p:sldLayoutId id="2147488663" r:id="rId58"/>
    <p:sldLayoutId id="2147487180" r:id="rId59"/>
    <p:sldLayoutId id="2147488694" r:id="rId60"/>
    <p:sldLayoutId id="2147487182" r:id="rId61"/>
    <p:sldLayoutId id="2147487183" r:id="rId62"/>
    <p:sldLayoutId id="2147487184" r:id="rId63"/>
    <p:sldLayoutId id="2147489362" r:id="rId64"/>
    <p:sldLayoutId id="2147489363" r:id="rId65"/>
    <p:sldLayoutId id="2147487185" r:id="rId66"/>
    <p:sldLayoutId id="2147487040" r:id="rId67"/>
    <p:sldLayoutId id="2147487041" r:id="rId68"/>
    <p:sldLayoutId id="2147487188" r:id="rId69"/>
    <p:sldLayoutId id="2147487189" r:id="rId70"/>
    <p:sldLayoutId id="2147487190" r:id="rId71"/>
    <p:sldLayoutId id="2147487042" r:id="rId72"/>
    <p:sldLayoutId id="2147487192" r:id="rId73"/>
    <p:sldLayoutId id="2147487193" r:id="rId74"/>
    <p:sldLayoutId id="2147487043" r:id="rId75"/>
    <p:sldLayoutId id="2147487044" r:id="rId76"/>
    <p:sldLayoutId id="2147489373" r:id="rId77"/>
    <p:sldLayoutId id="2147487045" r:id="rId78"/>
    <p:sldLayoutId id="2147487046" r:id="rId79"/>
    <p:sldLayoutId id="2147487047" r:id="rId80"/>
    <p:sldLayoutId id="2147487048" r:id="rId81"/>
    <p:sldLayoutId id="2147487049" r:id="rId82"/>
    <p:sldLayoutId id="2147487050" r:id="rId83"/>
    <p:sldLayoutId id="2147487051" r:id="rId84"/>
    <p:sldLayoutId id="2147489380" r:id="rId85"/>
    <p:sldLayoutId id="2147488664" r:id="rId86"/>
    <p:sldLayoutId id="2147487052" r:id="rId87"/>
    <p:sldLayoutId id="2147487053" r:id="rId88"/>
    <p:sldLayoutId id="2147487205" r:id="rId89"/>
    <p:sldLayoutId id="2147489343" r:id="rId90"/>
    <p:sldLayoutId id="2147489344" r:id="rId91"/>
    <p:sldLayoutId id="2147489345" r:id="rId92"/>
    <p:sldLayoutId id="2147489346" r:id="rId93"/>
    <p:sldLayoutId id="2147487209" r:id="rId94"/>
    <p:sldLayoutId id="2147487210" r:id="rId95"/>
    <p:sldLayoutId id="2147487211" r:id="rId96"/>
    <p:sldLayoutId id="2147487213" r:id="rId97"/>
    <p:sldLayoutId id="2147487214" r:id="rId98"/>
    <p:sldLayoutId id="2147488695" r:id="rId99"/>
    <p:sldLayoutId id="2147488666" r:id="rId100"/>
    <p:sldLayoutId id="2147487215" r:id="rId101"/>
    <p:sldLayoutId id="2147487226" r:id="rId102"/>
    <p:sldLayoutId id="2147487227" r:id="rId103"/>
    <p:sldLayoutId id="2147489396" r:id="rId104"/>
    <p:sldLayoutId id="2147489397" r:id="rId105"/>
    <p:sldLayoutId id="2147487228" r:id="rId106"/>
    <p:sldLayoutId id="2147487229" r:id="rId107"/>
    <p:sldLayoutId id="2147487058" r:id="rId108"/>
    <p:sldLayoutId id="2147487231" r:id="rId109"/>
    <p:sldLayoutId id="2147487232" r:id="rId110"/>
    <p:sldLayoutId id="2147487233" r:id="rId111"/>
    <p:sldLayoutId id="2147487234" r:id="rId112"/>
    <p:sldLayoutId id="2147487235" r:id="rId113"/>
    <p:sldLayoutId id="2147487236" r:id="rId114"/>
    <p:sldLayoutId id="2147487237" r:id="rId115"/>
    <p:sldLayoutId id="2147489406" r:id="rId116"/>
    <p:sldLayoutId id="2147487059" r:id="rId117"/>
    <p:sldLayoutId id="2147487060" r:id="rId118"/>
    <p:sldLayoutId id="2147487061" r:id="rId119"/>
    <p:sldLayoutId id="2147487062" r:id="rId120"/>
    <p:sldLayoutId id="2147487242" r:id="rId121"/>
    <p:sldLayoutId id="2147487063" r:id="rId122"/>
    <p:sldLayoutId id="2147487244" r:id="rId123"/>
    <p:sldLayoutId id="2147487245" r:id="rId124"/>
    <p:sldLayoutId id="2147487248" r:id="rId125"/>
    <p:sldLayoutId id="2147487249" r:id="rId126"/>
    <p:sldLayoutId id="2147487250" r:id="rId127"/>
    <p:sldLayoutId id="2147489349" r:id="rId128"/>
    <p:sldLayoutId id="2147487251" r:id="rId129"/>
    <p:sldLayoutId id="2147487253" r:id="rId130"/>
    <p:sldLayoutId id="2147487065" r:id="rId131"/>
    <p:sldLayoutId id="2147487066" r:id="rId132"/>
    <p:sldLayoutId id="2147487067" r:id="rId133"/>
    <p:sldLayoutId id="2147489692" r:id="rId134"/>
    <p:sldLayoutId id="2147487069" r:id="rId135"/>
    <p:sldLayoutId id="2147487070" r:id="rId136"/>
    <p:sldLayoutId id="2147487071" r:id="rId137"/>
    <p:sldLayoutId id="2147489738" r:id="rId138"/>
    <p:sldLayoutId id="2147487072" r:id="rId139"/>
    <p:sldLayoutId id="2147487073" r:id="rId140"/>
    <p:sldLayoutId id="2147487074" r:id="rId141"/>
    <p:sldLayoutId id="2147487075" r:id="rId142"/>
    <p:sldLayoutId id="2147489739" r:id="rId143"/>
    <p:sldLayoutId id="2147487265" r:id="rId144"/>
    <p:sldLayoutId id="2147487266" r:id="rId145"/>
    <p:sldLayoutId id="2147487076" r:id="rId146"/>
    <p:sldLayoutId id="2147487078" r:id="rId147"/>
    <p:sldLayoutId id="2147487270" r:id="rId148"/>
    <p:sldLayoutId id="2147487271" r:id="rId149"/>
    <p:sldLayoutId id="2147487272" r:id="rId150"/>
    <p:sldLayoutId id="2147487273" r:id="rId151"/>
    <p:sldLayoutId id="2147487274" r:id="rId152"/>
    <p:sldLayoutId id="2147487275" r:id="rId153"/>
    <p:sldLayoutId id="2147487276" r:id="rId154"/>
    <p:sldLayoutId id="2147489436" r:id="rId155"/>
    <p:sldLayoutId id="2147487277" r:id="rId156"/>
    <p:sldLayoutId id="2147487079" r:id="rId157"/>
    <p:sldLayoutId id="2147489438" r:id="rId158"/>
    <p:sldLayoutId id="2147487080" r:id="rId159"/>
    <p:sldLayoutId id="2147487081" r:id="rId160"/>
    <p:sldLayoutId id="2147487082" r:id="rId161"/>
    <p:sldLayoutId id="2147487083" r:id="rId162"/>
    <p:sldLayoutId id="2147487084" r:id="rId163"/>
    <p:sldLayoutId id="2147487085" r:id="rId164"/>
    <p:sldLayoutId id="2147487086" r:id="rId165"/>
    <p:sldLayoutId id="2147489445" r:id="rId166"/>
    <p:sldLayoutId id="2147489446" r:id="rId167"/>
    <p:sldLayoutId id="2147487087" r:id="rId168"/>
    <p:sldLayoutId id="2147487088" r:id="rId169"/>
    <p:sldLayoutId id="2147487089" r:id="rId170"/>
    <p:sldLayoutId id="2147487090" r:id="rId171"/>
    <p:sldLayoutId id="2147487290" r:id="rId172"/>
    <p:sldLayoutId id="2147487291" r:id="rId173"/>
    <p:sldLayoutId id="2147487292" r:id="rId174"/>
    <p:sldLayoutId id="2147487294" r:id="rId175"/>
    <p:sldLayoutId id="2147487295" r:id="rId176"/>
    <p:sldLayoutId id="2147487296" r:id="rId177"/>
    <p:sldLayoutId id="2147487297" r:id="rId178"/>
    <p:sldLayoutId id="2147487298" r:id="rId179"/>
    <p:sldLayoutId id="2147488696" r:id="rId180"/>
    <p:sldLayoutId id="2147488697" r:id="rId181"/>
    <p:sldLayoutId id="2147487311" r:id="rId182"/>
    <p:sldLayoutId id="2147487116" r:id="rId183"/>
    <p:sldLayoutId id="2147487117" r:id="rId184"/>
    <p:sldLayoutId id="2147487096" r:id="rId185"/>
    <p:sldLayoutId id="2147487098" r:id="rId186"/>
    <p:sldLayoutId id="2147489382" r:id="rId187"/>
    <p:sldLayoutId id="2147489383" r:id="rId188"/>
    <p:sldLayoutId id="2147487099" r:id="rId189"/>
    <p:sldLayoutId id="2147487104" r:id="rId190"/>
    <p:sldLayoutId id="2147487326" r:id="rId191"/>
    <p:sldLayoutId id="2147487105" r:id="rId192"/>
    <p:sldLayoutId id="2147489451" r:id="rId193"/>
    <p:sldLayoutId id="2147489452" r:id="rId194"/>
    <p:sldLayoutId id="2147487106" r:id="rId195"/>
    <p:sldLayoutId id="2147487107" r:id="rId196"/>
    <p:sldLayoutId id="2147487108" r:id="rId197"/>
    <p:sldLayoutId id="2147487109" r:id="rId198"/>
    <p:sldLayoutId id="2147487110" r:id="rId199"/>
    <p:sldLayoutId id="2147487111" r:id="rId200"/>
    <p:sldLayoutId id="2147487112" r:id="rId201"/>
    <p:sldLayoutId id="2147487113" r:id="rId202"/>
    <p:sldLayoutId id="2147487120" r:id="rId203"/>
    <p:sldLayoutId id="2147487121" r:id="rId204"/>
    <p:sldLayoutId id="2147487122" r:id="rId205"/>
    <p:sldLayoutId id="2147487123" r:id="rId206"/>
    <p:sldLayoutId id="2147487346" r:id="rId207"/>
    <p:sldLayoutId id="2147487124" r:id="rId208"/>
    <p:sldLayoutId id="2147487348" r:id="rId209"/>
    <p:sldLayoutId id="2147487349" r:id="rId210"/>
    <p:sldLayoutId id="2147488352" r:id="rId211"/>
    <p:sldLayoutId id="2147488353" r:id="rId212"/>
    <p:sldLayoutId id="2147483849" r:id="rId213"/>
    <p:sldLayoutId id="2147483850" r:id="rId214"/>
    <p:sldLayoutId id="2147488698" r:id="rId215"/>
    <p:sldLayoutId id="2147488699" r:id="rId216"/>
    <p:sldLayoutId id="2147488700" r:id="rId217"/>
    <p:sldLayoutId id="2147483854" r:id="rId218"/>
    <p:sldLayoutId id="2147483855" r:id="rId219"/>
    <p:sldLayoutId id="2147483856" r:id="rId220"/>
    <p:sldLayoutId id="2147483857" r:id="rId221"/>
    <p:sldLayoutId id="2147483858" r:id="rId222"/>
    <p:sldLayoutId id="2147483859" r:id="rId223"/>
    <p:sldLayoutId id="2147487005" r:id="rId224"/>
    <p:sldLayoutId id="2147483861" r:id="rId225"/>
    <p:sldLayoutId id="2147483872" r:id="rId226"/>
    <p:sldLayoutId id="2147483874" r:id="rId227"/>
    <p:sldLayoutId id="2147483875" r:id="rId228"/>
    <p:sldLayoutId id="2147483876" r:id="rId229"/>
    <p:sldLayoutId id="2147488384" r:id="rId230"/>
    <p:sldLayoutId id="2147488385" r:id="rId231"/>
    <p:sldLayoutId id="2147483879" r:id="rId232"/>
    <p:sldLayoutId id="2147483880" r:id="rId233"/>
    <p:sldLayoutId id="2147483881" r:id="rId234"/>
    <p:sldLayoutId id="2147483882" r:id="rId235"/>
    <p:sldLayoutId id="2147483883" r:id="rId236"/>
    <p:sldLayoutId id="2147483884" r:id="rId237"/>
    <p:sldLayoutId id="2147483885" r:id="rId238"/>
    <p:sldLayoutId id="2147483886" r:id="rId239"/>
    <p:sldLayoutId id="2147483887" r:id="rId240"/>
    <p:sldLayoutId id="2147483888" r:id="rId241"/>
    <p:sldLayoutId id="2147483889" r:id="rId242"/>
    <p:sldLayoutId id="2147483890" r:id="rId243"/>
    <p:sldLayoutId id="2147483891" r:id="rId244"/>
    <p:sldLayoutId id="2147483892" r:id="rId245"/>
    <p:sldLayoutId id="2147483893" r:id="rId246"/>
    <p:sldLayoutId id="2147483894" r:id="rId247"/>
    <p:sldLayoutId id="2147483895" r:id="rId248"/>
    <p:sldLayoutId id="2147488702" r:id="rId249"/>
    <p:sldLayoutId id="2147488669" r:id="rId250"/>
    <p:sldLayoutId id="2147488670" r:id="rId251"/>
    <p:sldLayoutId id="2147488671" r:id="rId252"/>
    <p:sldLayoutId id="2147483896" r:id="rId253"/>
    <p:sldLayoutId id="2147483901" r:id="rId254"/>
    <p:sldLayoutId id="2147483902" r:id="rId255"/>
    <p:sldLayoutId id="2147483903" r:id="rId256"/>
    <p:sldLayoutId id="2147483904" r:id="rId257"/>
    <p:sldLayoutId id="2147488703" r:id="rId258"/>
    <p:sldLayoutId id="2147488704" r:id="rId259"/>
    <p:sldLayoutId id="2147488705" r:id="rId260"/>
    <p:sldLayoutId id="2147487132" r:id="rId261"/>
    <p:sldLayoutId id="2147487133" r:id="rId262"/>
    <p:sldLayoutId id="2147487134" r:id="rId263"/>
    <p:sldLayoutId id="2147489514" r:id="rId264"/>
    <p:sldLayoutId id="2147487135" r:id="rId265"/>
    <p:sldLayoutId id="2147487136" r:id="rId266"/>
    <p:sldLayoutId id="2147487137" r:id="rId267"/>
    <p:sldLayoutId id="2147487138" r:id="rId268"/>
    <p:sldLayoutId id="2147487139" r:id="rId269"/>
    <p:sldLayoutId id="2147487140" r:id="rId270"/>
    <p:sldLayoutId id="2147487141" r:id="rId271"/>
    <p:sldLayoutId id="2147489521" r:id="rId272"/>
    <p:sldLayoutId id="2147483934" r:id="rId273"/>
    <p:sldLayoutId id="2147483935" r:id="rId274"/>
    <p:sldLayoutId id="2147483936" r:id="rId275"/>
    <p:sldLayoutId id="2147489525" r:id="rId276"/>
    <p:sldLayoutId id="2147488345" r:id="rId277"/>
    <p:sldLayoutId id="2147486987" r:id="rId278"/>
    <p:sldLayoutId id="2147487355" r:id="rId279"/>
    <p:sldLayoutId id="2147487369" r:id="rId280"/>
    <p:sldLayoutId id="2147487356" r:id="rId281"/>
    <p:sldLayoutId id="2147487357" r:id="rId282"/>
    <p:sldLayoutId id="2147487358" r:id="rId283"/>
    <p:sldLayoutId id="2147485077" r:id="rId284"/>
    <p:sldLayoutId id="2147484851" r:id="rId285"/>
    <p:sldLayoutId id="2147486926" r:id="rId286"/>
    <p:sldLayoutId id="2147487362" r:id="rId287"/>
    <p:sldLayoutId id="2147487360" r:id="rId288"/>
    <p:sldLayoutId id="2147488346" r:id="rId289"/>
    <p:sldLayoutId id="2147486423" r:id="rId290"/>
    <p:sldLayoutId id="2147486950" r:id="rId291"/>
    <p:sldLayoutId id="2147487359" r:id="rId292"/>
    <p:sldLayoutId id="2147487361" r:id="rId293"/>
    <p:sldLayoutId id="2147484627" r:id="rId294"/>
    <p:sldLayoutId id="2147485879" r:id="rId295"/>
    <p:sldLayoutId id="2147489535" r:id="rId296"/>
    <p:sldLayoutId id="2147484838" r:id="rId297"/>
    <p:sldLayoutId id="2147485857" r:id="rId298"/>
    <p:sldLayoutId id="2147485858" r:id="rId299"/>
    <p:sldLayoutId id="2147485859" r:id="rId300"/>
    <p:sldLayoutId id="2147485860" r:id="rId301"/>
    <p:sldLayoutId id="2147485861" r:id="rId302"/>
    <p:sldLayoutId id="2147484634" r:id="rId303"/>
    <p:sldLayoutId id="2147489541" r:id="rId304"/>
    <p:sldLayoutId id="2147484635" r:id="rId305"/>
    <p:sldLayoutId id="2147484238" r:id="rId306"/>
    <p:sldLayoutId id="2147486915" r:id="rId307"/>
    <p:sldLayoutId id="2147484840" r:id="rId308"/>
    <p:sldLayoutId id="2147486917" r:id="rId309"/>
    <p:sldLayoutId id="2147484203" r:id="rId310"/>
    <p:sldLayoutId id="2147484204" r:id="rId311"/>
    <p:sldLayoutId id="2147484205" r:id="rId312"/>
    <p:sldLayoutId id="2147484206" r:id="rId313"/>
    <p:sldLayoutId id="2147484237" r:id="rId314"/>
    <p:sldLayoutId id="2147484208" r:id="rId315"/>
    <p:sldLayoutId id="2147485064" r:id="rId316"/>
    <p:sldLayoutId id="2147485065" r:id="rId317"/>
    <p:sldLayoutId id="2147488424" r:id="rId318"/>
    <p:sldLayoutId id="2147486965" r:id="rId319"/>
    <p:sldLayoutId id="2147484682" r:id="rId320"/>
    <p:sldLayoutId id="2147484683" r:id="rId321"/>
    <p:sldLayoutId id="2147484684" r:id="rId322"/>
    <p:sldLayoutId id="2147486989" r:id="rId323"/>
    <p:sldLayoutId id="2147485573" r:id="rId324"/>
    <p:sldLayoutId id="2147485574" r:id="rId325"/>
    <p:sldLayoutId id="2147483760" r:id="rId326"/>
    <p:sldLayoutId id="2147484686" r:id="rId327"/>
    <p:sldLayoutId id="2147484687" r:id="rId328"/>
    <p:sldLayoutId id="2147484688" r:id="rId329"/>
    <p:sldLayoutId id="2147484689" r:id="rId330"/>
    <p:sldLayoutId id="2147484690" r:id="rId331"/>
    <p:sldLayoutId id="2147484691" r:id="rId332"/>
    <p:sldLayoutId id="2147485575" r:id="rId333"/>
    <p:sldLayoutId id="2147485577" r:id="rId334"/>
    <p:sldLayoutId id="2147488277" r:id="rId335"/>
    <p:sldLayoutId id="2147488278" r:id="rId336"/>
    <p:sldLayoutId id="2147488279" r:id="rId337"/>
    <p:sldLayoutId id="2147485578" r:id="rId338"/>
    <p:sldLayoutId id="2147485579" r:id="rId339"/>
    <p:sldLayoutId id="2147488280" r:id="rId340"/>
    <p:sldLayoutId id="2147488281" r:id="rId341"/>
    <p:sldLayoutId id="2147488282" r:id="rId342"/>
    <p:sldLayoutId id="2147488283" r:id="rId343"/>
    <p:sldLayoutId id="2147488284" r:id="rId344"/>
    <p:sldLayoutId id="2147488285" r:id="rId345"/>
    <p:sldLayoutId id="2147485066" r:id="rId346"/>
    <p:sldLayoutId id="2147485067" r:id="rId347"/>
    <p:sldLayoutId id="2147485068" r:id="rId348"/>
    <p:sldLayoutId id="2147485069" r:id="rId349"/>
    <p:sldLayoutId id="2147489527" r:id="rId350"/>
    <p:sldLayoutId id="2147485352" r:id="rId351"/>
    <p:sldLayoutId id="2147485070" r:id="rId352"/>
    <p:sldLayoutId id="2147486030" r:id="rId353"/>
    <p:sldLayoutId id="2147485071" r:id="rId354"/>
    <p:sldLayoutId id="2147484626" r:id="rId355"/>
    <p:sldLayoutId id="2147484839" r:id="rId356"/>
    <p:sldLayoutId id="2147485847" r:id="rId357"/>
    <p:sldLayoutId id="2147485848" r:id="rId358"/>
    <p:sldLayoutId id="2147485849" r:id="rId359"/>
    <p:sldLayoutId id="2147489307" r:id="rId360"/>
    <p:sldLayoutId id="2147485850" r:id="rId361"/>
    <p:sldLayoutId id="2147485851" r:id="rId362"/>
    <p:sldLayoutId id="2147485852" r:id="rId363"/>
    <p:sldLayoutId id="2147485853" r:id="rId364"/>
    <p:sldLayoutId id="2147485854" r:id="rId365"/>
    <p:sldLayoutId id="2147485855" r:id="rId366"/>
    <p:sldLayoutId id="2147485856" r:id="rId367"/>
    <p:sldLayoutId id="2147484384" r:id="rId368"/>
    <p:sldLayoutId id="2147485405" r:id="rId369"/>
    <p:sldLayoutId id="2147489308" r:id="rId370"/>
    <p:sldLayoutId id="2147484559" r:id="rId371"/>
    <p:sldLayoutId id="2147484385" r:id="rId372"/>
    <p:sldLayoutId id="2147489309" r:id="rId373"/>
    <p:sldLayoutId id="2147485406" r:id="rId374"/>
    <p:sldLayoutId id="2147484387" r:id="rId375"/>
    <p:sldLayoutId id="2147484388" r:id="rId376"/>
    <p:sldLayoutId id="2147484389" r:id="rId377"/>
    <p:sldLayoutId id="2147484390" r:id="rId378"/>
    <p:sldLayoutId id="2147484391" r:id="rId379"/>
    <p:sldLayoutId id="2147484392" r:id="rId380"/>
    <p:sldLayoutId id="2147489575" r:id="rId381"/>
    <p:sldLayoutId id="2147489544" r:id="rId382"/>
    <p:sldLayoutId id="2147489545" r:id="rId383"/>
    <p:sldLayoutId id="2147489549" r:id="rId384"/>
    <p:sldLayoutId id="2147486200" r:id="rId385"/>
    <p:sldLayoutId id="2147485878" r:id="rId386"/>
    <p:sldLayoutId id="2147484654" r:id="rId387"/>
    <p:sldLayoutId id="2147484655" r:id="rId388"/>
    <p:sldLayoutId id="2147484692" r:id="rId389"/>
    <p:sldLayoutId id="2147483752" r:id="rId390"/>
    <p:sldLayoutId id="2147483753" r:id="rId391"/>
    <p:sldLayoutId id="2147483754" r:id="rId392"/>
    <p:sldLayoutId id="2147483755" r:id="rId393"/>
    <p:sldLayoutId id="2147484608" r:id="rId394"/>
    <p:sldLayoutId id="2147485213" r:id="rId395"/>
    <p:sldLayoutId id="2147485214" r:id="rId396"/>
    <p:sldLayoutId id="2147485179" r:id="rId397"/>
    <p:sldLayoutId id="2147485555" r:id="rId398"/>
    <p:sldLayoutId id="2147486360" r:id="rId399"/>
    <p:sldLayoutId id="2147488421" r:id="rId400"/>
    <p:sldLayoutId id="2147489737" r:id="rId401"/>
    <p:sldLayoutId id="2147488297" r:id="rId402"/>
    <p:sldLayoutId id="2147486361" r:id="rId403"/>
    <p:sldLayoutId id="2147484335" r:id="rId404"/>
    <p:sldLayoutId id="2147484336" r:id="rId405"/>
    <p:sldLayoutId id="2147484337" r:id="rId406"/>
    <p:sldLayoutId id="2147489552" r:id="rId407"/>
    <p:sldLayoutId id="2147484853" r:id="rId408"/>
    <p:sldLayoutId id="2147484339" r:id="rId409"/>
    <p:sldLayoutId id="2147484340" r:id="rId410"/>
    <p:sldLayoutId id="2147484341" r:id="rId411"/>
    <p:sldLayoutId id="2147484342" r:id="rId412"/>
    <p:sldLayoutId id="2147484343" r:id="rId413"/>
    <p:sldLayoutId id="2147484344" r:id="rId414"/>
    <p:sldLayoutId id="2147488317" r:id="rId415"/>
    <p:sldLayoutId id="2147483877" r:id="rId416"/>
    <p:sldLayoutId id="2147483677" r:id="rId417"/>
    <p:sldLayoutId id="2147487353" r:id="rId418"/>
    <p:sldLayoutId id="2147487354" r:id="rId419"/>
    <p:sldLayoutId id="2147488306" r:id="rId420"/>
    <p:sldLayoutId id="2147486396" r:id="rId421"/>
    <p:sldLayoutId id="2147486397" r:id="rId422"/>
    <p:sldLayoutId id="2147486418" r:id="rId423"/>
    <p:sldLayoutId id="2147485468" r:id="rId424"/>
    <p:sldLayoutId id="2147485865" r:id="rId425"/>
    <p:sldLayoutId id="2147489320" r:id="rId426"/>
    <p:sldLayoutId id="2147484364" r:id="rId427"/>
    <p:sldLayoutId id="2147485358" r:id="rId428"/>
    <p:sldLayoutId id="2147485868" r:id="rId429"/>
    <p:sldLayoutId id="2147485869" r:id="rId430"/>
    <p:sldLayoutId id="2147485870" r:id="rId431"/>
    <p:sldLayoutId id="2147485385" r:id="rId432"/>
    <p:sldLayoutId id="2147485871" r:id="rId433"/>
    <p:sldLayoutId id="2147485469" r:id="rId434"/>
    <p:sldLayoutId id="2147484570" r:id="rId435"/>
    <p:sldLayoutId id="2147484222" r:id="rId436"/>
    <p:sldLayoutId id="2147484854" r:id="rId437"/>
    <p:sldLayoutId id="2147484852" r:id="rId438"/>
    <p:sldLayoutId id="2147485093" r:id="rId439"/>
    <p:sldLayoutId id="2147485072" r:id="rId440"/>
    <p:sldLayoutId id="2147489577" r:id="rId441"/>
    <p:sldLayoutId id="2147489579" r:id="rId442"/>
    <p:sldLayoutId id="2147489315" r:id="rId443"/>
    <p:sldLayoutId id="2147485355" r:id="rId444"/>
    <p:sldLayoutId id="2147484355" r:id="rId445"/>
    <p:sldLayoutId id="2147485444" r:id="rId446"/>
    <p:sldLayoutId id="2147484356" r:id="rId447"/>
    <p:sldLayoutId id="2147488684" r:id="rId448"/>
    <p:sldLayoutId id="2147483860" r:id="rId449"/>
    <p:sldLayoutId id="2147484357" r:id="rId450"/>
    <p:sldLayoutId id="2147484358" r:id="rId451"/>
    <p:sldLayoutId id="2147484359" r:id="rId452"/>
    <p:sldLayoutId id="2147484360" r:id="rId453"/>
    <p:sldLayoutId id="2147484361" r:id="rId454"/>
    <p:sldLayoutId id="2147484393" r:id="rId455"/>
    <p:sldLayoutId id="2147484394" r:id="rId456"/>
    <p:sldLayoutId id="2147484566" r:id="rId457"/>
    <p:sldLayoutId id="2147485470" r:id="rId458"/>
    <p:sldLayoutId id="2147484231" r:id="rId459"/>
    <p:sldLayoutId id="2147484268" r:id="rId460"/>
    <p:sldLayoutId id="2147484235" r:id="rId461"/>
    <p:sldLayoutId id="2147489586" r:id="rId462"/>
    <p:sldLayoutId id="2147484847" r:id="rId463"/>
    <p:sldLayoutId id="2147484245" r:id="rId464"/>
    <p:sldLayoutId id="2147484262" r:id="rId465"/>
    <p:sldLayoutId id="2147486955" r:id="rId466"/>
    <p:sldLayoutId id="2147485238" r:id="rId467"/>
    <p:sldLayoutId id="2147486956" r:id="rId468"/>
    <p:sldLayoutId id="2147484233" r:id="rId469"/>
    <p:sldLayoutId id="2147486948" r:id="rId470"/>
    <p:sldLayoutId id="2147484774" r:id="rId471"/>
    <p:sldLayoutId id="2147484775" r:id="rId472"/>
    <p:sldLayoutId id="2147486425" r:id="rId473"/>
    <p:sldLayoutId id="2147484776" r:id="rId474"/>
    <p:sldLayoutId id="2147484777" r:id="rId475"/>
    <p:sldLayoutId id="2147486387" r:id="rId476"/>
    <p:sldLayoutId id="2147486389" r:id="rId477"/>
    <p:sldLayoutId id="2147486391" r:id="rId478"/>
    <p:sldLayoutId id="2147486949" r:id="rId479"/>
    <p:sldLayoutId id="2147486424" r:id="rId480"/>
    <p:sldLayoutId id="2147489587" r:id="rId481"/>
    <p:sldLayoutId id="2147486251" r:id="rId482"/>
    <p:sldLayoutId id="2147484334" r:id="rId483"/>
    <p:sldLayoutId id="2147487351" r:id="rId484"/>
    <p:sldLayoutId id="2147486990" r:id="rId485"/>
    <p:sldLayoutId id="2147484585" r:id="rId486"/>
    <p:sldLayoutId id="2147484586" r:id="rId487"/>
    <p:sldLayoutId id="2147484587" r:id="rId488"/>
    <p:sldLayoutId id="2147484588" r:id="rId489"/>
    <p:sldLayoutId id="2147484592" r:id="rId490"/>
    <p:sldLayoutId id="2147488383" r:id="rId491"/>
    <p:sldLayoutId id="2147484594" r:id="rId492"/>
    <p:sldLayoutId id="2147487156" r:id="rId493"/>
    <p:sldLayoutId id="2147485370" r:id="rId494"/>
    <p:sldLayoutId id="2147485872" r:id="rId495"/>
    <p:sldLayoutId id="2147486927" r:id="rId496"/>
    <p:sldLayoutId id="2147485367" r:id="rId497"/>
    <p:sldLayoutId id="2147485368" r:id="rId498"/>
    <p:sldLayoutId id="2147485369" r:id="rId499"/>
    <p:sldLayoutId id="2147485400" r:id="rId500"/>
    <p:sldLayoutId id="2147485401" r:id="rId501"/>
    <p:sldLayoutId id="2147485402" r:id="rId502"/>
    <p:sldLayoutId id="2147485403" r:id="rId503"/>
    <p:sldLayoutId id="2147488347" r:id="rId504"/>
    <p:sldLayoutId id="2147484477" r:id="rId505"/>
    <p:sldLayoutId id="2147484478" r:id="rId506"/>
    <p:sldLayoutId id="2147484260" r:id="rId507"/>
    <p:sldLayoutId id="2147489619" r:id="rId508"/>
    <p:sldLayoutId id="2147484856" r:id="rId509"/>
    <p:sldLayoutId id="2147484480" r:id="rId510"/>
    <p:sldLayoutId id="2147484267" r:id="rId511"/>
    <p:sldLayoutId id="2147484481" r:id="rId512"/>
    <p:sldLayoutId id="2147484482" r:id="rId513"/>
    <p:sldLayoutId id="2147484483" r:id="rId514"/>
    <p:sldLayoutId id="2147484484" r:id="rId515"/>
    <p:sldLayoutId id="2147486991" r:id="rId516"/>
    <p:sldLayoutId id="2147486992" r:id="rId517"/>
    <p:sldLayoutId id="2147486252" r:id="rId518"/>
    <p:sldLayoutId id="2147486253" r:id="rId519"/>
    <p:sldLayoutId id="2147486363" r:id="rId520"/>
    <p:sldLayoutId id="2147487006" r:id="rId521"/>
    <p:sldLayoutId id="2147486364" r:id="rId522"/>
    <p:sldLayoutId id="2147486365" r:id="rId523"/>
    <p:sldLayoutId id="2147489339" r:id="rId524"/>
    <p:sldLayoutId id="2147489340" r:id="rId525"/>
    <p:sldLayoutId id="2147487007" r:id="rId526"/>
    <p:sldLayoutId id="2147488386" r:id="rId527"/>
    <p:sldLayoutId id="2147486366" r:id="rId528"/>
    <p:sldLayoutId id="2147483940" r:id="rId529"/>
    <p:sldLayoutId id="2147486367" r:id="rId530"/>
    <p:sldLayoutId id="2147489632" r:id="rId531"/>
    <p:sldLayoutId id="2147489633" r:id="rId532"/>
    <p:sldLayoutId id="2147486368" r:id="rId533"/>
    <p:sldLayoutId id="2147486369" r:id="rId534"/>
    <p:sldLayoutId id="2147483944" r:id="rId535"/>
    <p:sldLayoutId id="2147483945" r:id="rId536"/>
    <p:sldLayoutId id="2147488706" r:id="rId537"/>
    <p:sldLayoutId id="2147488707" r:id="rId538"/>
    <p:sldLayoutId id="2147489459" r:id="rId539"/>
    <p:sldLayoutId id="2147489460" r:id="rId540"/>
    <p:sldLayoutId id="2147489461" r:id="rId541"/>
    <p:sldLayoutId id="2147489462" r:id="rId542"/>
    <p:sldLayoutId id="2147489475" r:id="rId543"/>
    <p:sldLayoutId id="2147483967" r:id="rId544"/>
    <p:sldLayoutId id="2147483968" r:id="rId545"/>
    <p:sldLayoutId id="2147483969" r:id="rId546"/>
    <p:sldLayoutId id="2147483971" r:id="rId547"/>
    <p:sldLayoutId id="2147483972" r:id="rId548"/>
    <p:sldLayoutId id="2147483973" r:id="rId549"/>
    <p:sldLayoutId id="2147489640" r:id="rId550"/>
    <p:sldLayoutId id="2147483976" r:id="rId551"/>
    <p:sldLayoutId id="2147483977" r:id="rId552"/>
    <p:sldLayoutId id="2147483978" r:id="rId553"/>
    <p:sldLayoutId id="2147483984" r:id="rId554"/>
    <p:sldLayoutId id="2147489645" r:id="rId555"/>
    <p:sldLayoutId id="2147489646" r:id="rId556"/>
    <p:sldLayoutId id="2147483985" r:id="rId557"/>
    <p:sldLayoutId id="2147483986" r:id="rId558"/>
    <p:sldLayoutId id="2147483987" r:id="rId559"/>
    <p:sldLayoutId id="2147483988" r:id="rId560"/>
    <p:sldLayoutId id="2147483989" r:id="rId561"/>
    <p:sldLayoutId id="2147483990" r:id="rId562"/>
    <p:sldLayoutId id="2147483991" r:id="rId563"/>
    <p:sldLayoutId id="2147489650" r:id="rId564"/>
    <p:sldLayoutId id="2147489651" r:id="rId565"/>
    <p:sldLayoutId id="2147483992" r:id="rId566"/>
    <p:sldLayoutId id="2147483993" r:id="rId567"/>
    <p:sldLayoutId id="2147483994" r:id="rId568"/>
    <p:sldLayoutId id="2147483995" r:id="rId569"/>
    <p:sldLayoutId id="2147483996" r:id="rId570"/>
    <p:sldLayoutId id="2147483997" r:id="rId571"/>
    <p:sldLayoutId id="2147483998" r:id="rId572"/>
    <p:sldLayoutId id="2147483999" r:id="rId573"/>
    <p:sldLayoutId id="2147484000" r:id="rId574"/>
    <p:sldLayoutId id="2147484001" r:id="rId575"/>
    <p:sldLayoutId id="2147484652" r:id="rId576"/>
    <p:sldLayoutId id="2147484653" r:id="rId577"/>
    <p:sldLayoutId id="2147487008" r:id="rId578"/>
    <p:sldLayoutId id="2147487009" r:id="rId579"/>
    <p:sldLayoutId id="2147488708" r:id="rId580"/>
    <p:sldLayoutId id="2147487010" r:id="rId581"/>
    <p:sldLayoutId id="2147488387" r:id="rId582"/>
    <p:sldLayoutId id="2147487011" r:id="rId583"/>
    <p:sldLayoutId id="2147487012" r:id="rId584"/>
    <p:sldLayoutId id="2147487013" r:id="rId585"/>
    <p:sldLayoutId id="2147488709" r:id="rId586"/>
    <p:sldLayoutId id="2147488710" r:id="rId587"/>
    <p:sldLayoutId id="2147488711" r:id="rId588"/>
    <p:sldLayoutId id="2147485006" r:id="rId589"/>
    <p:sldLayoutId id="2147485007" r:id="rId590"/>
    <p:sldLayoutId id="2147485008" r:id="rId591"/>
    <p:sldLayoutId id="2147488239" r:id="rId592"/>
    <p:sldLayoutId id="2147485425" r:id="rId593"/>
    <p:sldLayoutId id="2147489659" r:id="rId594"/>
    <p:sldLayoutId id="2147489660" r:id="rId595"/>
    <p:sldLayoutId id="2147489663" r:id="rId596"/>
    <p:sldLayoutId id="2147489664" r:id="rId597"/>
    <p:sldLayoutId id="2147485903" r:id="rId598"/>
    <p:sldLayoutId id="2147485904" r:id="rId599"/>
    <p:sldLayoutId id="2147484354" r:id="rId600"/>
    <p:sldLayoutId id="2147484572" r:id="rId601"/>
    <p:sldLayoutId id="2147485391" r:id="rId602"/>
    <p:sldLayoutId id="2147485392" r:id="rId603"/>
    <p:sldLayoutId id="2147484376" r:id="rId604"/>
    <p:sldLayoutId id="2147485905" r:id="rId605"/>
    <p:sldLayoutId id="2147485906" r:id="rId606"/>
    <p:sldLayoutId id="2147485880" r:id="rId607"/>
    <p:sldLayoutId id="2147485393" r:id="rId608"/>
    <p:sldLayoutId id="2147485394" r:id="rId609"/>
    <p:sldLayoutId id="2147485395" r:id="rId610"/>
    <p:sldLayoutId id="2147486284" r:id="rId611"/>
    <p:sldLayoutId id="2147484378" r:id="rId612"/>
    <p:sldLayoutId id="2147484379" r:id="rId613"/>
    <p:sldLayoutId id="2147485396" r:id="rId614"/>
    <p:sldLayoutId id="2147487155" r:id="rId615"/>
    <p:sldLayoutId id="2147488079" r:id="rId616"/>
    <p:sldLayoutId id="2147488712" r:id="rId617"/>
    <p:sldLayoutId id="2147488240" r:id="rId618"/>
    <p:sldLayoutId id="2147488241" r:id="rId61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noFill/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752400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Bebas Neue"/>
              <a:buNone/>
              <a:defRPr sz="36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Bebas Neue"/>
              <a:buNone/>
              <a:defRPr sz="36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Bebas Neue"/>
              <a:buNone/>
              <a:defRPr sz="36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Bebas Neue"/>
              <a:buNone/>
              <a:defRPr sz="36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Bebas Neue"/>
              <a:buNone/>
              <a:defRPr sz="36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Bebas Neue"/>
              <a:buNone/>
              <a:defRPr sz="36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Bebas Neue"/>
              <a:buNone/>
              <a:defRPr sz="36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Bebas Neue"/>
              <a:buNone/>
              <a:defRPr sz="36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Bebas Neue"/>
              <a:buNone/>
              <a:defRPr sz="3600">
                <a:solidFill>
                  <a:schemeClr val="dk1"/>
                </a:solidFill>
                <a:latin typeface="Bebas Neue"/>
                <a:ea typeface="Bebas Neue"/>
                <a:cs typeface="Bebas Neue"/>
                <a:sym typeface="Bebas Neue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60000" y="1649444"/>
            <a:ext cx="10272000" cy="448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Barlow Medium"/>
              <a:buChar char="●"/>
              <a:defRPr>
                <a:solidFill>
                  <a:schemeClr val="dk1"/>
                </a:solidFill>
                <a:latin typeface="Barlow Medium"/>
                <a:ea typeface="Barlow Medium"/>
                <a:cs typeface="Barlow Medium"/>
                <a:sym typeface="Barlow Medium"/>
              </a:defRPr>
            </a:lvl1pPr>
            <a:lvl2pPr marL="914400" lvl="1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Barlow Medium"/>
              <a:buChar char="○"/>
              <a:defRPr>
                <a:solidFill>
                  <a:schemeClr val="dk1"/>
                </a:solidFill>
                <a:latin typeface="Barlow Medium"/>
                <a:ea typeface="Barlow Medium"/>
                <a:cs typeface="Barlow Medium"/>
                <a:sym typeface="Barlow Medium"/>
              </a:defRPr>
            </a:lvl2pPr>
            <a:lvl3pPr marL="1371600" lvl="2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Barlow Medium"/>
              <a:buChar char="■"/>
              <a:defRPr>
                <a:solidFill>
                  <a:schemeClr val="dk1"/>
                </a:solidFill>
                <a:latin typeface="Barlow Medium"/>
                <a:ea typeface="Barlow Medium"/>
                <a:cs typeface="Barlow Medium"/>
                <a:sym typeface="Barlow Medium"/>
              </a:defRPr>
            </a:lvl3pPr>
            <a:lvl4pPr marL="1828800" lvl="3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Barlow Medium"/>
              <a:buChar char="●"/>
              <a:defRPr>
                <a:solidFill>
                  <a:schemeClr val="dk1"/>
                </a:solidFill>
                <a:latin typeface="Barlow Medium"/>
                <a:ea typeface="Barlow Medium"/>
                <a:cs typeface="Barlow Medium"/>
                <a:sym typeface="Barlow Medium"/>
              </a:defRPr>
            </a:lvl4pPr>
            <a:lvl5pPr marL="2286000" lvl="4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Barlow Medium"/>
              <a:buChar char="○"/>
              <a:defRPr>
                <a:solidFill>
                  <a:schemeClr val="dk1"/>
                </a:solidFill>
                <a:latin typeface="Barlow Medium"/>
                <a:ea typeface="Barlow Medium"/>
                <a:cs typeface="Barlow Medium"/>
                <a:sym typeface="Barlow Medium"/>
              </a:defRPr>
            </a:lvl5pPr>
            <a:lvl6pPr marL="2743200" lvl="5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Barlow Medium"/>
              <a:buChar char="■"/>
              <a:defRPr>
                <a:solidFill>
                  <a:schemeClr val="dk1"/>
                </a:solidFill>
                <a:latin typeface="Barlow Medium"/>
                <a:ea typeface="Barlow Medium"/>
                <a:cs typeface="Barlow Medium"/>
                <a:sym typeface="Barlow Medium"/>
              </a:defRPr>
            </a:lvl6pPr>
            <a:lvl7pPr marL="3200400" lvl="6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Barlow Medium"/>
              <a:buChar char="●"/>
              <a:defRPr>
                <a:solidFill>
                  <a:schemeClr val="dk1"/>
                </a:solidFill>
                <a:latin typeface="Barlow Medium"/>
                <a:ea typeface="Barlow Medium"/>
                <a:cs typeface="Barlow Medium"/>
                <a:sym typeface="Barlow Medium"/>
              </a:defRPr>
            </a:lvl7pPr>
            <a:lvl8pPr marL="3657600" lvl="7" indent="-3175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Barlow Medium"/>
              <a:buChar char="○"/>
              <a:defRPr>
                <a:solidFill>
                  <a:schemeClr val="dk1"/>
                </a:solidFill>
                <a:latin typeface="Barlow Medium"/>
                <a:ea typeface="Barlow Medium"/>
                <a:cs typeface="Barlow Medium"/>
                <a:sym typeface="Barlow Medium"/>
              </a:defRPr>
            </a:lvl8pPr>
            <a:lvl9pPr marL="4114800" lvl="8" indent="-3175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400"/>
              <a:buFont typeface="Barlow Medium"/>
              <a:buChar char="■"/>
              <a:defRPr>
                <a:solidFill>
                  <a:schemeClr val="dk1"/>
                </a:solidFill>
                <a:latin typeface="Barlow Medium"/>
                <a:ea typeface="Barlow Medium"/>
                <a:cs typeface="Barlow Medium"/>
                <a:sym typeface="Barlow Medium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9740" r:id="rId1"/>
    <p:sldLayoutId id="2147489741" r:id="rId2"/>
    <p:sldLayoutId id="2147489742" r:id="rId3"/>
    <p:sldLayoutId id="2147489743" r:id="rId4"/>
    <p:sldLayoutId id="2147489744" r:id="rId5"/>
    <p:sldLayoutId id="2147489745" r:id="rId6"/>
    <p:sldLayoutId id="2147489746" r:id="rId7"/>
    <p:sldLayoutId id="2147489747" r:id="rId8"/>
    <p:sldLayoutId id="2147483652" r:id="rId9"/>
    <p:sldLayoutId id="2147483656" r:id="rId10"/>
    <p:sldLayoutId id="2147489748" r:id="rId11"/>
    <p:sldLayoutId id="2147483658" r:id="rId12"/>
    <p:sldLayoutId id="2147489749" r:id="rId13"/>
    <p:sldLayoutId id="2147489750" r:id="rId14"/>
    <p:sldLayoutId id="2147489751" r:id="rId15"/>
    <p:sldLayoutId id="2147489752" r:id="rId16"/>
    <p:sldLayoutId id="2147489753" r:id="rId17"/>
    <p:sldLayoutId id="2147489754" r:id="rId18"/>
    <p:sldLayoutId id="2147489755" r:id="rId19"/>
    <p:sldLayoutId id="2147489756" r:id="rId20"/>
    <p:sldLayoutId id="2147489757" r:id="rId21"/>
    <p:sldLayoutId id="2147489758" r:id="rId22"/>
    <p:sldLayoutId id="2147489759" r:id="rId23"/>
    <p:sldLayoutId id="2147489760" r:id="rId24"/>
    <p:sldLayoutId id="2147489761" r:id="rId25"/>
    <p:sldLayoutId id="2147489762" r:id="rId26"/>
    <p:sldLayoutId id="2147489763" r:id="rId27"/>
    <p:sldLayoutId id="2147483659" r:id="rId28"/>
    <p:sldLayoutId id="2147483674" r:id="rId29"/>
    <p:sldLayoutId id="2147483675" r:id="rId30"/>
    <p:sldLayoutId id="2147488730" r:id="rId3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53" userDrawn="1">
          <p15:clr>
            <a:srgbClr val="EA4335"/>
          </p15:clr>
        </p15:guide>
        <p15:guide id="2" pos="605" userDrawn="1">
          <p15:clr>
            <a:srgbClr val="EA4335"/>
          </p15:clr>
        </p15:guide>
        <p15:guide id="3" orient="horz" pos="3867" userDrawn="1">
          <p15:clr>
            <a:srgbClr val="EA4335"/>
          </p15:clr>
        </p15:guide>
        <p15:guide id="4" pos="7075" userDrawn="1">
          <p15:clr>
            <a:srgbClr val="EA4335"/>
          </p15:clr>
        </p15:guide>
        <p15:guide id="5" orient="horz" pos="2160" userDrawn="1">
          <p15:clr>
            <a:srgbClr val="EA4335"/>
          </p15:clr>
        </p15:guide>
        <p15:guide id="6" pos="3840" userDrawn="1">
          <p15:clr>
            <a:srgbClr val="EA4335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766456" y="6356350"/>
            <a:ext cx="14695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9/16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36028" y="6356350"/>
            <a:ext cx="29173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3800" y="6356350"/>
            <a:ext cx="685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539ECA-5BAE-4EA9-A408-88BD88CDCDC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9CFCA52E-AE58-2995-E3FB-A10A99A72785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290" y="6164997"/>
            <a:ext cx="2900038" cy="565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259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700" r:id="rId4"/>
    <p:sldLayoutId id="2147483696" r:id="rId5"/>
    <p:sldLayoutId id="2147483698" r:id="rId6"/>
    <p:sldLayoutId id="2147483699" r:id="rId7"/>
    <p:sldLayoutId id="2147483701" r:id="rId8"/>
    <p:sldLayoutId id="2147483697" r:id="rId9"/>
    <p:sldLayoutId id="2147483702" r:id="rId10"/>
    <p:sldLayoutId id="2147483703" r:id="rId11"/>
    <p:sldLayoutId id="2147483704" r:id="rId12"/>
  </p:sldLayoutIdLst>
  <p:hf hd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Franklin Gothic Book" panose="020B05030201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3840" userDrawn="1">
          <p15:clr>
            <a:srgbClr val="F26B43"/>
          </p15:clr>
        </p15:guide>
        <p15:guide id="4" orient="horz" pos="96" userDrawn="1">
          <p15:clr>
            <a:srgbClr val="F26B43"/>
          </p15:clr>
        </p15:guide>
        <p15:guide id="5" pos="96" userDrawn="1">
          <p15:clr>
            <a:srgbClr val="F26B43"/>
          </p15:clr>
        </p15:guide>
        <p15:guide id="6" pos="7584" userDrawn="1">
          <p15:clr>
            <a:srgbClr val="F26B43"/>
          </p15:clr>
        </p15:guide>
        <p15:guide id="7" pos="240" userDrawn="1">
          <p15:clr>
            <a:srgbClr val="547EBF"/>
          </p15:clr>
        </p15:guide>
        <p15:guide id="8" pos="7440" userDrawn="1">
          <p15:clr>
            <a:srgbClr val="547EBF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5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09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9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298.xml"/><Relationship Id="rId4" Type="http://schemas.openxmlformats.org/officeDocument/2006/relationships/image" Target="../media/image1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hyperlink" Target="https://ilpqc.org/ILPQC%202020%2B/2024%20AC/ILPQC%20Annual%20Conference%20Abstract%20Template_2024.ppt" TargetMode="External"/><Relationship Id="rId1" Type="http://schemas.openxmlformats.org/officeDocument/2006/relationships/slideLayout" Target="../slideLayouts/slideLayout29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45.xml"/><Relationship Id="rId4" Type="http://schemas.openxmlformats.org/officeDocument/2006/relationships/image" Target="../media/image118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svg"/><Relationship Id="rId3" Type="http://schemas.openxmlformats.org/officeDocument/2006/relationships/image" Target="../media/image119.png"/><Relationship Id="rId7" Type="http://schemas.openxmlformats.org/officeDocument/2006/relationships/image" Target="../media/image1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0.xml"/><Relationship Id="rId6" Type="http://schemas.openxmlformats.org/officeDocument/2006/relationships/image" Target="../media/image122.svg"/><Relationship Id="rId5" Type="http://schemas.openxmlformats.org/officeDocument/2006/relationships/image" Target="../media/image121.png"/><Relationship Id="rId4" Type="http://schemas.openxmlformats.org/officeDocument/2006/relationships/image" Target="../media/image120.svg"/><Relationship Id="rId9" Type="http://schemas.openxmlformats.org/officeDocument/2006/relationships/image" Target="../media/image12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1.svg"/><Relationship Id="rId13" Type="http://schemas.openxmlformats.org/officeDocument/2006/relationships/image" Target="../media/image136.png"/><Relationship Id="rId3" Type="http://schemas.openxmlformats.org/officeDocument/2006/relationships/image" Target="../media/image126.png"/><Relationship Id="rId7" Type="http://schemas.openxmlformats.org/officeDocument/2006/relationships/image" Target="../media/image130.png"/><Relationship Id="rId12" Type="http://schemas.openxmlformats.org/officeDocument/2006/relationships/image" Target="../media/image135.svg"/><Relationship Id="rId17" Type="http://schemas.openxmlformats.org/officeDocument/2006/relationships/image" Target="../media/image140.sv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13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9.svg"/><Relationship Id="rId11" Type="http://schemas.openxmlformats.org/officeDocument/2006/relationships/image" Target="../media/image134.png"/><Relationship Id="rId5" Type="http://schemas.openxmlformats.org/officeDocument/2006/relationships/image" Target="../media/image128.png"/><Relationship Id="rId15" Type="http://schemas.openxmlformats.org/officeDocument/2006/relationships/image" Target="../media/image138.png"/><Relationship Id="rId10" Type="http://schemas.openxmlformats.org/officeDocument/2006/relationships/image" Target="../media/image133.svg"/><Relationship Id="rId4" Type="http://schemas.openxmlformats.org/officeDocument/2006/relationships/image" Target="../media/image127.svg"/><Relationship Id="rId9" Type="http://schemas.openxmlformats.org/officeDocument/2006/relationships/image" Target="../media/image132.png"/><Relationship Id="rId14" Type="http://schemas.openxmlformats.org/officeDocument/2006/relationships/image" Target="../media/image137.sv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144.png"/><Relationship Id="rId5" Type="http://schemas.openxmlformats.org/officeDocument/2006/relationships/image" Target="../media/image143.png"/><Relationship Id="rId4" Type="http://schemas.openxmlformats.org/officeDocument/2006/relationships/image" Target="../media/image142.sv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145.png"/><Relationship Id="rId5" Type="http://schemas.openxmlformats.org/officeDocument/2006/relationships/image" Target="../media/image143.png"/><Relationship Id="rId4" Type="http://schemas.openxmlformats.org/officeDocument/2006/relationships/image" Target="../media/image142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146.png"/><Relationship Id="rId5" Type="http://schemas.openxmlformats.org/officeDocument/2006/relationships/image" Target="../media/image143.png"/><Relationship Id="rId4" Type="http://schemas.openxmlformats.org/officeDocument/2006/relationships/image" Target="../media/image142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148.png"/><Relationship Id="rId5" Type="http://schemas.openxmlformats.org/officeDocument/2006/relationships/image" Target="../media/image143.png"/><Relationship Id="rId4" Type="http://schemas.openxmlformats.org/officeDocument/2006/relationships/image" Target="../media/image147.sv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4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40.xml"/><Relationship Id="rId4" Type="http://schemas.openxmlformats.org/officeDocument/2006/relationships/image" Target="../media/image15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4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40.xml"/><Relationship Id="rId6" Type="http://schemas.openxmlformats.org/officeDocument/2006/relationships/image" Target="../media/image155.png"/><Relationship Id="rId5" Type="http://schemas.openxmlformats.org/officeDocument/2006/relationships/image" Target="../media/image154.png"/><Relationship Id="rId4" Type="http://schemas.openxmlformats.org/officeDocument/2006/relationships/image" Target="../media/image153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4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4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6.png"/><Relationship Id="rId1" Type="http://schemas.openxmlformats.org/officeDocument/2006/relationships/slideLayout" Target="../slideLayouts/slideLayout64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7.png"/><Relationship Id="rId1" Type="http://schemas.openxmlformats.org/officeDocument/2006/relationships/slideLayout" Target="../slideLayouts/slideLayout64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4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svg"/><Relationship Id="rId3" Type="http://schemas.openxmlformats.org/officeDocument/2006/relationships/image" Target="../media/image119.png"/><Relationship Id="rId7" Type="http://schemas.openxmlformats.org/officeDocument/2006/relationships/image" Target="../media/image12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49.xml"/><Relationship Id="rId6" Type="http://schemas.openxmlformats.org/officeDocument/2006/relationships/image" Target="../media/image122.svg"/><Relationship Id="rId5" Type="http://schemas.openxmlformats.org/officeDocument/2006/relationships/image" Target="../media/image121.png"/><Relationship Id="rId4" Type="http://schemas.openxmlformats.org/officeDocument/2006/relationships/image" Target="../media/image120.sv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49.xml"/><Relationship Id="rId5" Type="http://schemas.openxmlformats.org/officeDocument/2006/relationships/image" Target="../media/image160.svg"/><Relationship Id="rId4" Type="http://schemas.openxmlformats.org/officeDocument/2006/relationships/image" Target="../media/image159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49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9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6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3.png"/><Relationship Id="rId2" Type="http://schemas.openxmlformats.org/officeDocument/2006/relationships/image" Target="../media/image162.png"/><Relationship Id="rId1" Type="http://schemas.openxmlformats.org/officeDocument/2006/relationships/slideLayout" Target="../slideLayouts/slideLayout67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mailto:info@ilpqc.org" TargetMode="External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5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71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4.tmp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75.xml"/><Relationship Id="rId5" Type="http://schemas.openxmlformats.org/officeDocument/2006/relationships/image" Target="../media/image166.tmp"/><Relationship Id="rId4" Type="http://schemas.openxmlformats.org/officeDocument/2006/relationships/image" Target="../media/image165.tmp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8.tmp"/><Relationship Id="rId2" Type="http://schemas.openxmlformats.org/officeDocument/2006/relationships/image" Target="../media/image167.png"/><Relationship Id="rId1" Type="http://schemas.openxmlformats.org/officeDocument/2006/relationships/slideLayout" Target="../slideLayouts/slideLayout675.xml"/><Relationship Id="rId5" Type="http://schemas.openxmlformats.org/officeDocument/2006/relationships/image" Target="../media/image170.tmp"/><Relationship Id="rId4" Type="http://schemas.openxmlformats.org/officeDocument/2006/relationships/image" Target="../media/image169.tmp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2.tmp"/><Relationship Id="rId2" Type="http://schemas.openxmlformats.org/officeDocument/2006/relationships/image" Target="../media/image171.tmp"/><Relationship Id="rId1" Type="http://schemas.openxmlformats.org/officeDocument/2006/relationships/slideLayout" Target="../slideLayouts/slideLayout67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3.png"/><Relationship Id="rId1" Type="http://schemas.openxmlformats.org/officeDocument/2006/relationships/slideLayout" Target="../slideLayouts/slideLayout67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8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49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64.xml"/><Relationship Id="rId5" Type="http://schemas.openxmlformats.org/officeDocument/2006/relationships/image" Target="../media/image176.svg"/><Relationship Id="rId4" Type="http://schemas.openxmlformats.org/officeDocument/2006/relationships/image" Target="../media/image175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8.sv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9.png"/><Relationship Id="rId2" Type="http://schemas.openxmlformats.org/officeDocument/2006/relationships/hyperlink" Target="https://www.diversityscience.institute/ilpqc-member-org-info" TargetMode="External"/><Relationship Id="rId1" Type="http://schemas.openxmlformats.org/officeDocument/2006/relationships/slideLayout" Target="../slideLayouts/slideLayout58.xml"/><Relationship Id="rId4" Type="http://schemas.openxmlformats.org/officeDocument/2006/relationships/image" Target="../media/image18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ventbrite.com/e/illinois-perinatal-quality-collaborative-12th-annual-conference-tickets-995365604317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6.xml"/><Relationship Id="rId5" Type="http://schemas.openxmlformats.org/officeDocument/2006/relationships/image" Target="../media/image109.png"/><Relationship Id="rId4" Type="http://schemas.openxmlformats.org/officeDocument/2006/relationships/image" Target="../media/image10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30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mailto:cdavis3@northshore.org" TargetMode="External"/><Relationship Id="rId2" Type="http://schemas.openxmlformats.org/officeDocument/2006/relationships/image" Target="../media/image111.jpeg"/><Relationship Id="rId1" Type="http://schemas.openxmlformats.org/officeDocument/2006/relationships/slideLayout" Target="../slideLayouts/slideLayout306.xml"/><Relationship Id="rId5" Type="http://schemas.openxmlformats.org/officeDocument/2006/relationships/image" Target="../media/image112.jpeg"/><Relationship Id="rId4" Type="http://schemas.openxmlformats.org/officeDocument/2006/relationships/image" Target="../media/image10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D742501-F937-8041-84E5-748F96AE99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1224" y="3173680"/>
            <a:ext cx="5194433" cy="1826339"/>
          </a:xfrm>
        </p:spPr>
        <p:txBody>
          <a:bodyPr/>
          <a:lstStyle/>
          <a:p>
            <a:pPr lvl="1" algn="ctr"/>
            <a:r>
              <a:rPr lang="en-US" sz="4800" b="1">
                <a:solidFill>
                  <a:srgbClr val="1C498B"/>
                </a:solidFill>
                <a:latin typeface="DM Sans"/>
                <a:ea typeface="+mj-lt"/>
                <a:cs typeface="+mj-lt"/>
              </a:rPr>
              <a:t>Equity and Safe Sleep for Infant</a:t>
            </a:r>
            <a:r>
              <a:rPr lang="en-US" sz="4800" b="1">
                <a:solidFill>
                  <a:schemeClr val="accent1"/>
                </a:solidFill>
                <a:latin typeface="DM Sans"/>
                <a:ea typeface="+mj-lt"/>
                <a:cs typeface="+mj-lt"/>
              </a:rPr>
              <a:t>s</a:t>
            </a:r>
            <a:br>
              <a:rPr lang="en-US" sz="4800" b="1">
                <a:latin typeface="DM Sans"/>
                <a:ea typeface="+mj-lt"/>
                <a:cs typeface="+mj-lt"/>
              </a:rPr>
            </a:br>
            <a:br>
              <a:rPr lang="en-US" sz="3600">
                <a:latin typeface="DM Sans"/>
                <a:ea typeface="+mj-lt"/>
                <a:cs typeface="+mj-lt"/>
              </a:rPr>
            </a:br>
            <a:endParaRPr lang="en-US" sz="3600" b="0">
              <a:latin typeface="DM Sans"/>
              <a:cs typeface="Calibri"/>
            </a:endParaRPr>
          </a:p>
        </p:txBody>
      </p:sp>
      <p:pic>
        <p:nvPicPr>
          <p:cNvPr id="2" name="Picture 1" descr="A person holding a baby&#10;&#10;Description automatically generated">
            <a:extLst>
              <a:ext uri="{FF2B5EF4-FFF2-40B4-BE49-F238E27FC236}">
                <a16:creationId xmlns:a16="http://schemas.microsoft.com/office/drawing/2014/main" id="{0D7C69D0-240C-8322-D521-66F461EE341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3571" y="1815347"/>
            <a:ext cx="4425350" cy="2896629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9" name="Subtitle 3">
            <a:extLst>
              <a:ext uri="{FF2B5EF4-FFF2-40B4-BE49-F238E27FC236}">
                <a16:creationId xmlns:a16="http://schemas.microsoft.com/office/drawing/2014/main" id="{7F20A429-9947-F447-2DF2-A5C17B5C6EC1}"/>
              </a:ext>
            </a:extLst>
          </p:cNvPr>
          <p:cNvSpPr>
            <a:spLocks noGrp="1"/>
          </p:cNvSpPr>
          <p:nvPr/>
        </p:nvSpPr>
        <p:spPr>
          <a:xfrm>
            <a:off x="1574463" y="4514450"/>
            <a:ext cx="5426907" cy="98656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latin typeface="DM Sans"/>
                <a:ea typeface="+mn-lt"/>
                <a:cs typeface="+mn-lt"/>
              </a:rPr>
              <a:t>September 16th, 2024 2:00 </a:t>
            </a:r>
            <a:r>
              <a:rPr lang="en-US">
                <a:latin typeface="Bierstadt Display"/>
                <a:ea typeface="+mn-lt"/>
                <a:cs typeface="+mn-lt"/>
              </a:rPr>
              <a:t>PM</a:t>
            </a:r>
            <a:r>
              <a:rPr lang="en-US">
                <a:latin typeface="DM Sans"/>
                <a:ea typeface="+mn-lt"/>
                <a:cs typeface="+mn-lt"/>
              </a:rPr>
              <a:t> </a:t>
            </a:r>
            <a:endParaRPr lang="en-US">
              <a:latin typeface="DM Sans"/>
            </a:endParaRPr>
          </a:p>
        </p:txBody>
      </p:sp>
      <p:grpSp>
        <p:nvGrpSpPr>
          <p:cNvPr id="7" name="Group 27">
            <a:extLst>
              <a:ext uri="{FF2B5EF4-FFF2-40B4-BE49-F238E27FC236}">
                <a16:creationId xmlns:a16="http://schemas.microsoft.com/office/drawing/2014/main" id="{63770316-A22E-98DA-7612-617DBB68472E}"/>
              </a:ext>
            </a:extLst>
          </p:cNvPr>
          <p:cNvGrpSpPr/>
          <p:nvPr/>
        </p:nvGrpSpPr>
        <p:grpSpPr>
          <a:xfrm>
            <a:off x="-415216" y="-654827"/>
            <a:ext cx="1368800" cy="1368800"/>
            <a:chOff x="0" y="0"/>
            <a:chExt cx="812800" cy="812800"/>
          </a:xfrm>
        </p:grpSpPr>
        <p:sp>
          <p:nvSpPr>
            <p:cNvPr id="5" name="Freeform 28">
              <a:extLst>
                <a:ext uri="{FF2B5EF4-FFF2-40B4-BE49-F238E27FC236}">
                  <a16:creationId xmlns:a16="http://schemas.microsoft.com/office/drawing/2014/main" id="{8E694DE2-D1B5-A619-19A6-0A53A2DE2074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" name="TextBox 29">
              <a:extLst>
                <a:ext uri="{FF2B5EF4-FFF2-40B4-BE49-F238E27FC236}">
                  <a16:creationId xmlns:a16="http://schemas.microsoft.com/office/drawing/2014/main" id="{FE263125-2206-7D72-1BC9-C4D15DED1BBE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</p:spTree>
    <p:extLst>
      <p:ext uri="{BB962C8B-B14F-4D97-AF65-F5344CB8AC3E}">
        <p14:creationId xmlns:p14="http://schemas.microsoft.com/office/powerpoint/2010/main" val="31279213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2E442304-DDBD-4F7B-8017-36BCC863FB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sketch line">
            <a:extLst>
              <a:ext uri="{FF2B5EF4-FFF2-40B4-BE49-F238E27FC236}">
                <a16:creationId xmlns:a16="http://schemas.microsoft.com/office/drawing/2014/main" id="{5E107275-3853-46FD-A241-DE4355A426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1627450" y="3462719"/>
            <a:ext cx="5410200" cy="18288"/>
          </a:xfrm>
          <a:custGeom>
            <a:avLst/>
            <a:gdLst>
              <a:gd name="connsiteX0" fmla="*/ 0 w 5410200"/>
              <a:gd name="connsiteY0" fmla="*/ 0 h 18288"/>
              <a:gd name="connsiteX1" fmla="*/ 568071 w 5410200"/>
              <a:gd name="connsiteY1" fmla="*/ 0 h 18288"/>
              <a:gd name="connsiteX2" fmla="*/ 1298448 w 5410200"/>
              <a:gd name="connsiteY2" fmla="*/ 0 h 18288"/>
              <a:gd name="connsiteX3" fmla="*/ 1920621 w 5410200"/>
              <a:gd name="connsiteY3" fmla="*/ 0 h 18288"/>
              <a:gd name="connsiteX4" fmla="*/ 2488692 w 5410200"/>
              <a:gd name="connsiteY4" fmla="*/ 0 h 18288"/>
              <a:gd name="connsiteX5" fmla="*/ 3219069 w 5410200"/>
              <a:gd name="connsiteY5" fmla="*/ 0 h 18288"/>
              <a:gd name="connsiteX6" fmla="*/ 3895344 w 5410200"/>
              <a:gd name="connsiteY6" fmla="*/ 0 h 18288"/>
              <a:gd name="connsiteX7" fmla="*/ 4571619 w 5410200"/>
              <a:gd name="connsiteY7" fmla="*/ 0 h 18288"/>
              <a:gd name="connsiteX8" fmla="*/ 5410200 w 5410200"/>
              <a:gd name="connsiteY8" fmla="*/ 0 h 18288"/>
              <a:gd name="connsiteX9" fmla="*/ 5410200 w 5410200"/>
              <a:gd name="connsiteY9" fmla="*/ 18288 h 18288"/>
              <a:gd name="connsiteX10" fmla="*/ 4842129 w 5410200"/>
              <a:gd name="connsiteY10" fmla="*/ 18288 h 18288"/>
              <a:gd name="connsiteX11" fmla="*/ 4328160 w 5410200"/>
              <a:gd name="connsiteY11" fmla="*/ 18288 h 18288"/>
              <a:gd name="connsiteX12" fmla="*/ 3597783 w 5410200"/>
              <a:gd name="connsiteY12" fmla="*/ 18288 h 18288"/>
              <a:gd name="connsiteX13" fmla="*/ 3029712 w 5410200"/>
              <a:gd name="connsiteY13" fmla="*/ 18288 h 18288"/>
              <a:gd name="connsiteX14" fmla="*/ 2299335 w 5410200"/>
              <a:gd name="connsiteY14" fmla="*/ 18288 h 18288"/>
              <a:gd name="connsiteX15" fmla="*/ 1514856 w 5410200"/>
              <a:gd name="connsiteY15" fmla="*/ 18288 h 18288"/>
              <a:gd name="connsiteX16" fmla="*/ 892683 w 5410200"/>
              <a:gd name="connsiteY16" fmla="*/ 18288 h 18288"/>
              <a:gd name="connsiteX17" fmla="*/ 0 w 5410200"/>
              <a:gd name="connsiteY17" fmla="*/ 18288 h 18288"/>
              <a:gd name="connsiteX18" fmla="*/ 0 w 5410200"/>
              <a:gd name="connsiteY18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410200" h="18288" fill="none" extrusionOk="0">
                <a:moveTo>
                  <a:pt x="0" y="0"/>
                </a:moveTo>
                <a:cubicBezTo>
                  <a:pt x="163050" y="-18707"/>
                  <a:pt x="319321" y="-16364"/>
                  <a:pt x="568071" y="0"/>
                </a:cubicBezTo>
                <a:cubicBezTo>
                  <a:pt x="816821" y="16364"/>
                  <a:pt x="1013224" y="-7268"/>
                  <a:pt x="1298448" y="0"/>
                </a:cubicBezTo>
                <a:cubicBezTo>
                  <a:pt x="1583672" y="7268"/>
                  <a:pt x="1631711" y="-3367"/>
                  <a:pt x="1920621" y="0"/>
                </a:cubicBezTo>
                <a:cubicBezTo>
                  <a:pt x="2209531" y="3367"/>
                  <a:pt x="2364420" y="-19184"/>
                  <a:pt x="2488692" y="0"/>
                </a:cubicBezTo>
                <a:cubicBezTo>
                  <a:pt x="2612964" y="19184"/>
                  <a:pt x="3023298" y="-34627"/>
                  <a:pt x="3219069" y="0"/>
                </a:cubicBezTo>
                <a:cubicBezTo>
                  <a:pt x="3414840" y="34627"/>
                  <a:pt x="3656810" y="24043"/>
                  <a:pt x="3895344" y="0"/>
                </a:cubicBezTo>
                <a:cubicBezTo>
                  <a:pt x="4133879" y="-24043"/>
                  <a:pt x="4393984" y="-19577"/>
                  <a:pt x="4571619" y="0"/>
                </a:cubicBezTo>
                <a:cubicBezTo>
                  <a:pt x="4749255" y="19577"/>
                  <a:pt x="5179928" y="-6281"/>
                  <a:pt x="5410200" y="0"/>
                </a:cubicBezTo>
                <a:cubicBezTo>
                  <a:pt x="5410730" y="6954"/>
                  <a:pt x="5410934" y="12839"/>
                  <a:pt x="5410200" y="18288"/>
                </a:cubicBezTo>
                <a:cubicBezTo>
                  <a:pt x="5139060" y="6751"/>
                  <a:pt x="5121593" y="31035"/>
                  <a:pt x="4842129" y="18288"/>
                </a:cubicBezTo>
                <a:cubicBezTo>
                  <a:pt x="4562665" y="5541"/>
                  <a:pt x="4448273" y="9487"/>
                  <a:pt x="4328160" y="18288"/>
                </a:cubicBezTo>
                <a:cubicBezTo>
                  <a:pt x="4208047" y="27089"/>
                  <a:pt x="3760936" y="22567"/>
                  <a:pt x="3597783" y="18288"/>
                </a:cubicBezTo>
                <a:cubicBezTo>
                  <a:pt x="3434630" y="14009"/>
                  <a:pt x="3299718" y="33213"/>
                  <a:pt x="3029712" y="18288"/>
                </a:cubicBezTo>
                <a:cubicBezTo>
                  <a:pt x="2759706" y="3363"/>
                  <a:pt x="2640159" y="27394"/>
                  <a:pt x="2299335" y="18288"/>
                </a:cubicBezTo>
                <a:cubicBezTo>
                  <a:pt x="1958511" y="9182"/>
                  <a:pt x="1801186" y="28985"/>
                  <a:pt x="1514856" y="18288"/>
                </a:cubicBezTo>
                <a:cubicBezTo>
                  <a:pt x="1228526" y="7591"/>
                  <a:pt x="1063509" y="-5305"/>
                  <a:pt x="892683" y="18288"/>
                </a:cubicBezTo>
                <a:cubicBezTo>
                  <a:pt x="721857" y="41881"/>
                  <a:pt x="186945" y="-20897"/>
                  <a:pt x="0" y="18288"/>
                </a:cubicBezTo>
                <a:cubicBezTo>
                  <a:pt x="-570" y="9279"/>
                  <a:pt x="132" y="5100"/>
                  <a:pt x="0" y="0"/>
                </a:cubicBezTo>
                <a:close/>
              </a:path>
              <a:path w="5410200" h="18288" stroke="0" extrusionOk="0">
                <a:moveTo>
                  <a:pt x="0" y="0"/>
                </a:moveTo>
                <a:cubicBezTo>
                  <a:pt x="285096" y="-4925"/>
                  <a:pt x="376456" y="22268"/>
                  <a:pt x="622173" y="0"/>
                </a:cubicBezTo>
                <a:cubicBezTo>
                  <a:pt x="867890" y="-22268"/>
                  <a:pt x="1031392" y="7228"/>
                  <a:pt x="1136142" y="0"/>
                </a:cubicBezTo>
                <a:cubicBezTo>
                  <a:pt x="1240892" y="-7228"/>
                  <a:pt x="1561853" y="9877"/>
                  <a:pt x="1920621" y="0"/>
                </a:cubicBezTo>
                <a:cubicBezTo>
                  <a:pt x="2279389" y="-9877"/>
                  <a:pt x="2367255" y="19546"/>
                  <a:pt x="2542794" y="0"/>
                </a:cubicBezTo>
                <a:cubicBezTo>
                  <a:pt x="2718333" y="-19546"/>
                  <a:pt x="2866732" y="-22226"/>
                  <a:pt x="3164967" y="0"/>
                </a:cubicBezTo>
                <a:cubicBezTo>
                  <a:pt x="3463202" y="22226"/>
                  <a:pt x="3568055" y="-2765"/>
                  <a:pt x="3949446" y="0"/>
                </a:cubicBezTo>
                <a:cubicBezTo>
                  <a:pt x="4330837" y="2765"/>
                  <a:pt x="4287895" y="10557"/>
                  <a:pt x="4517517" y="0"/>
                </a:cubicBezTo>
                <a:cubicBezTo>
                  <a:pt x="4747139" y="-10557"/>
                  <a:pt x="5149588" y="8716"/>
                  <a:pt x="5410200" y="0"/>
                </a:cubicBezTo>
                <a:cubicBezTo>
                  <a:pt x="5409517" y="5414"/>
                  <a:pt x="5409480" y="12510"/>
                  <a:pt x="5410200" y="18288"/>
                </a:cubicBezTo>
                <a:cubicBezTo>
                  <a:pt x="5163327" y="41494"/>
                  <a:pt x="5008749" y="10693"/>
                  <a:pt x="4842129" y="18288"/>
                </a:cubicBezTo>
                <a:cubicBezTo>
                  <a:pt x="4675509" y="25883"/>
                  <a:pt x="4433401" y="-615"/>
                  <a:pt x="4165854" y="18288"/>
                </a:cubicBezTo>
                <a:cubicBezTo>
                  <a:pt x="3898308" y="37191"/>
                  <a:pt x="3809032" y="-8710"/>
                  <a:pt x="3543681" y="18288"/>
                </a:cubicBezTo>
                <a:cubicBezTo>
                  <a:pt x="3278330" y="45286"/>
                  <a:pt x="3073876" y="-15917"/>
                  <a:pt x="2759202" y="18288"/>
                </a:cubicBezTo>
                <a:cubicBezTo>
                  <a:pt x="2444528" y="52493"/>
                  <a:pt x="2204144" y="3372"/>
                  <a:pt x="1974723" y="18288"/>
                </a:cubicBezTo>
                <a:cubicBezTo>
                  <a:pt x="1745302" y="33204"/>
                  <a:pt x="1602335" y="31490"/>
                  <a:pt x="1406652" y="18288"/>
                </a:cubicBezTo>
                <a:cubicBezTo>
                  <a:pt x="1210969" y="5086"/>
                  <a:pt x="923948" y="3161"/>
                  <a:pt x="730377" y="18288"/>
                </a:cubicBezTo>
                <a:cubicBezTo>
                  <a:pt x="536806" y="33415"/>
                  <a:pt x="336496" y="-141"/>
                  <a:pt x="0" y="18288"/>
                </a:cubicBezTo>
                <a:cubicBezTo>
                  <a:pt x="-306" y="11061"/>
                  <a:pt x="-655" y="7751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ED54BC-687B-95DC-B1DF-ECE635CC74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smtClean="0"/>
              <a:pPr>
                <a:spcAft>
                  <a:spcPts val="600"/>
                </a:spcAft>
              </a:pPr>
              <a:t>10</a:t>
            </a:fld>
            <a:endParaRPr lang="en-US"/>
          </a:p>
        </p:txBody>
      </p:sp>
      <p:graphicFrame>
        <p:nvGraphicFramePr>
          <p:cNvPr id="9" name="Diagram 9">
            <a:extLst>
              <a:ext uri="{FF2B5EF4-FFF2-40B4-BE49-F238E27FC236}">
                <a16:creationId xmlns:a16="http://schemas.microsoft.com/office/drawing/2014/main" id="{25EB57FC-A0C6-0042-E219-B1DF451890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88549585"/>
              </p:ext>
            </p:extLst>
          </p:nvPr>
        </p:nvGraphicFramePr>
        <p:xfrm>
          <a:off x="4705527" y="554559"/>
          <a:ext cx="7101795" cy="60623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25" name="Rectangle: Rounded Corners 224">
            <a:extLst>
              <a:ext uri="{FF2B5EF4-FFF2-40B4-BE49-F238E27FC236}">
                <a16:creationId xmlns:a16="http://schemas.microsoft.com/office/drawing/2014/main" id="{CB0A0917-AFE1-6BF9-A27E-D2DD2D0CEB28}"/>
              </a:ext>
            </a:extLst>
          </p:cNvPr>
          <p:cNvSpPr/>
          <p:nvPr/>
        </p:nvSpPr>
        <p:spPr>
          <a:xfrm>
            <a:off x="192484" y="4745691"/>
            <a:ext cx="3925017" cy="128600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66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200" b="1">
                <a:cs typeface="Calibri"/>
              </a:rPr>
              <a:t>Data &amp; </a:t>
            </a:r>
            <a:br>
              <a:rPr lang="en-US" sz="2200" b="1">
                <a:cs typeface="Calibri"/>
              </a:rPr>
            </a:br>
            <a:r>
              <a:rPr lang="en-US" sz="2200" b="1">
                <a:cs typeface="Calibri"/>
              </a:rPr>
              <a:t>AC Teams Survey due: </a:t>
            </a:r>
          </a:p>
          <a:p>
            <a:pPr algn="ctr"/>
            <a:r>
              <a:rPr lang="en-US" sz="2200" b="1">
                <a:cs typeface="Calibri"/>
              </a:rPr>
              <a:t>Friday September 27th, 2024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C9B693A-1E47-117F-A949-26C285E5F5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914" y="1147946"/>
            <a:ext cx="3418659" cy="3112135"/>
          </a:xfrm>
        </p:spPr>
        <p:txBody>
          <a:bodyPr anchor="ctr">
            <a:normAutofit fontScale="90000"/>
          </a:bodyPr>
          <a:lstStyle/>
          <a:p>
            <a:r>
              <a:rPr lang="en-US" sz="5400" dirty="0">
                <a:solidFill>
                  <a:schemeClr val="tx1"/>
                </a:solidFill>
                <a:latin typeface="Aptos Display"/>
                <a:ea typeface="Lato Medium"/>
                <a:cs typeface="Lato Medium"/>
              </a:rPr>
              <a:t>Upcoming Annual Conference Prep</a:t>
            </a:r>
            <a:endParaRPr lang="en-US" sz="5400" dirty="0">
              <a:solidFill>
                <a:schemeClr val="tx1"/>
              </a:solidFill>
              <a:latin typeface="Aptos Display"/>
            </a:endParaRPr>
          </a:p>
        </p:txBody>
      </p:sp>
      <p:pic>
        <p:nvPicPr>
          <p:cNvPr id="6" name="Picture 5" descr="Pumpkin PNG Transparent Images | PNG All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9365" y="3442046"/>
            <a:ext cx="950219" cy="818550"/>
          </a:xfrm>
          <a:prstGeom prst="rect">
            <a:avLst/>
          </a:prstGeom>
        </p:spPr>
      </p:pic>
      <p:sp>
        <p:nvSpPr>
          <p:cNvPr id="206" name="Rectangle: Rounded Corners 205">
            <a:extLst>
              <a:ext uri="{FF2B5EF4-FFF2-40B4-BE49-F238E27FC236}">
                <a16:creationId xmlns:a16="http://schemas.microsoft.com/office/drawing/2014/main" id="{397E10DD-15AD-D61C-9A6F-C678BAC230FA}"/>
              </a:ext>
            </a:extLst>
          </p:cNvPr>
          <p:cNvSpPr/>
          <p:nvPr/>
        </p:nvSpPr>
        <p:spPr>
          <a:xfrm>
            <a:off x="7325310" y="3853233"/>
            <a:ext cx="4600752" cy="402566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66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200" b="1">
                <a:cs typeface="Calibri"/>
              </a:rPr>
              <a:t>Due: Friday September 20th, 202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8315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10BD9465-1A32-6F14-1204-43D5C9BE9742}"/>
              </a:ext>
            </a:extLst>
          </p:cNvPr>
          <p:cNvSpPr/>
          <p:nvPr/>
        </p:nvSpPr>
        <p:spPr>
          <a:xfrm>
            <a:off x="6673516" y="-1931"/>
            <a:ext cx="5566610" cy="139566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ED54BC-687B-95DC-B1DF-ECE635CC74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smtClean="0"/>
              <a:pPr>
                <a:spcAft>
                  <a:spcPts val="600"/>
                </a:spcAft>
              </a:pPr>
              <a:t>11</a:t>
            </a:fld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C2F28AA-4E3B-B3AC-5C89-572085C2DACA}"/>
              </a:ext>
            </a:extLst>
          </p:cNvPr>
          <p:cNvSpPr txBox="1"/>
          <p:nvPr/>
        </p:nvSpPr>
        <p:spPr>
          <a:xfrm>
            <a:off x="274201" y="264249"/>
            <a:ext cx="3883154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800" b="1" dirty="0">
                <a:latin typeface="Aptos Display"/>
                <a:ea typeface="Calibri"/>
                <a:cs typeface="Calibri"/>
              </a:rPr>
              <a:t>Submitting an Abstract </a:t>
            </a:r>
            <a:endParaRPr lang="en-US" sz="2800" b="1">
              <a:latin typeface="Aptos Display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C9EA3C2-47F8-C8B1-B987-111ACC6A7CDD}"/>
              </a:ext>
            </a:extLst>
          </p:cNvPr>
          <p:cNvSpPr txBox="1"/>
          <p:nvPr/>
        </p:nvSpPr>
        <p:spPr>
          <a:xfrm>
            <a:off x="274201" y="4003692"/>
            <a:ext cx="3883154" cy="1785104"/>
          </a:xfrm>
          <a:prstGeom prst="rect">
            <a:avLst/>
          </a:prstGeom>
          <a:noFill/>
          <a:ln w="57150">
            <a:solidFill>
              <a:srgbClr val="FBF1AC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200" b="1" dirty="0">
                <a:latin typeface="Aptos Display"/>
                <a:ea typeface="Calibri"/>
                <a:cs typeface="Calibri"/>
              </a:rPr>
              <a:t>Abstract Content: </a:t>
            </a:r>
          </a:p>
          <a:p>
            <a:pPr marL="457200" indent="-457200">
              <a:buFont typeface="Arial"/>
              <a:buChar char="•"/>
            </a:pPr>
            <a:r>
              <a:rPr lang="en-US" sz="2200" dirty="0">
                <a:latin typeface="Aptos Display"/>
                <a:ea typeface="Calibri"/>
                <a:cs typeface="Calibri"/>
              </a:rPr>
              <a:t>Problem</a:t>
            </a:r>
          </a:p>
          <a:p>
            <a:pPr marL="457200" indent="-457200">
              <a:buFont typeface="Arial"/>
              <a:buChar char="•"/>
            </a:pPr>
            <a:r>
              <a:rPr lang="en-US" sz="2200" dirty="0">
                <a:latin typeface="Aptos Display"/>
                <a:ea typeface="Calibri"/>
                <a:cs typeface="Calibri"/>
              </a:rPr>
              <a:t>Project Implementation</a:t>
            </a:r>
          </a:p>
          <a:p>
            <a:pPr marL="457200" indent="-457200">
              <a:buFont typeface="Arial"/>
              <a:buChar char="•"/>
            </a:pPr>
            <a:r>
              <a:rPr lang="en-US" sz="2200" dirty="0">
                <a:latin typeface="Aptos Display"/>
                <a:ea typeface="Calibri"/>
                <a:cs typeface="Calibri"/>
              </a:rPr>
              <a:t>Results</a:t>
            </a:r>
          </a:p>
          <a:p>
            <a:pPr marL="457200" indent="-457200">
              <a:buFont typeface="Arial"/>
              <a:buChar char="•"/>
            </a:pPr>
            <a:r>
              <a:rPr lang="en-US" sz="2200" dirty="0">
                <a:latin typeface="Aptos Display"/>
                <a:ea typeface="Calibri"/>
                <a:cs typeface="Calibri"/>
              </a:rPr>
              <a:t>Conclus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063F3B7-381E-2432-3702-12F2FE9AE2FB}"/>
              </a:ext>
            </a:extLst>
          </p:cNvPr>
          <p:cNvSpPr txBox="1"/>
          <p:nvPr/>
        </p:nvSpPr>
        <p:spPr>
          <a:xfrm>
            <a:off x="892713" y="5987641"/>
            <a:ext cx="2646947" cy="369332"/>
          </a:xfrm>
          <a:prstGeom prst="rect">
            <a:avLst/>
          </a:prstGeom>
          <a:solidFill>
            <a:srgbClr val="FBF1AC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i="1" dirty="0">
                <a:latin typeface="Aptos Display"/>
                <a:ea typeface="Calibri"/>
                <a:cs typeface="Calibri"/>
              </a:rPr>
              <a:t>No more than 300 words!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152C040-F994-E6BB-8BF0-73C07B12B43A}"/>
              </a:ext>
            </a:extLst>
          </p:cNvPr>
          <p:cNvSpPr txBox="1"/>
          <p:nvPr/>
        </p:nvSpPr>
        <p:spPr>
          <a:xfrm>
            <a:off x="274201" y="969803"/>
            <a:ext cx="3883154" cy="246221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200" b="1" dirty="0">
                <a:latin typeface="Aptos Display"/>
                <a:ea typeface="Calibri"/>
                <a:cs typeface="Calibri"/>
              </a:rPr>
              <a:t>Submission Form Includes: </a:t>
            </a:r>
          </a:p>
          <a:p>
            <a:pPr marL="457200" indent="-457200">
              <a:buFont typeface="Arial"/>
              <a:buChar char="•"/>
            </a:pPr>
            <a:r>
              <a:rPr lang="en-US" sz="2200" dirty="0">
                <a:latin typeface="Aptos Display"/>
                <a:ea typeface="Calibri"/>
                <a:cs typeface="Calibri"/>
              </a:rPr>
              <a:t>Poster / Project Title</a:t>
            </a:r>
          </a:p>
          <a:p>
            <a:pPr marL="457200" indent="-457200">
              <a:buFont typeface="Arial"/>
              <a:buChar char="•"/>
            </a:pPr>
            <a:r>
              <a:rPr lang="en-US" sz="2200" dirty="0">
                <a:latin typeface="Aptos Display"/>
                <a:ea typeface="Calibri"/>
                <a:cs typeface="Calibri"/>
              </a:rPr>
              <a:t>Hospital Name</a:t>
            </a:r>
          </a:p>
          <a:p>
            <a:pPr marL="457200" indent="-457200">
              <a:buFont typeface="Arial"/>
              <a:buChar char="•"/>
            </a:pPr>
            <a:r>
              <a:rPr lang="en-US" sz="2200" dirty="0">
                <a:latin typeface="Aptos Display"/>
                <a:ea typeface="Calibri"/>
                <a:cs typeface="Calibri"/>
              </a:rPr>
              <a:t>Author / Team Name </a:t>
            </a:r>
          </a:p>
          <a:p>
            <a:pPr marL="457200" indent="-457200">
              <a:buFont typeface="Arial"/>
              <a:buChar char="•"/>
            </a:pPr>
            <a:r>
              <a:rPr lang="en-US" sz="2200" dirty="0">
                <a:latin typeface="Aptos Display"/>
                <a:ea typeface="Calibri"/>
                <a:cs typeface="Calibri"/>
              </a:rPr>
              <a:t>Abstract Category</a:t>
            </a:r>
          </a:p>
          <a:p>
            <a:pPr marL="457200" indent="-457200">
              <a:buFont typeface="Arial"/>
              <a:buChar char="•"/>
            </a:pPr>
            <a:r>
              <a:rPr lang="en-US" sz="2200" dirty="0">
                <a:latin typeface="Aptos Display"/>
                <a:ea typeface="Calibri"/>
                <a:cs typeface="Calibri"/>
              </a:rPr>
              <a:t>Methodology</a:t>
            </a:r>
          </a:p>
          <a:p>
            <a:pPr marL="457200" indent="-457200">
              <a:buFont typeface="Arial"/>
              <a:buChar char="•"/>
            </a:pPr>
            <a:r>
              <a:rPr lang="en-US" sz="2200" dirty="0">
                <a:latin typeface="Aptos Display"/>
                <a:ea typeface="Calibri"/>
                <a:cs typeface="Calibri"/>
              </a:rPr>
              <a:t>Perinatal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54F7ECB-29FD-EE13-B736-D8FEB061483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9265" y="-1485"/>
            <a:ext cx="4300245" cy="3373967"/>
          </a:xfrm>
          <a:prstGeom prst="rect">
            <a:avLst/>
          </a:prstGeom>
          <a:ln w="28575">
            <a:solidFill>
              <a:schemeClr val="accent6"/>
            </a:solidFill>
          </a:ln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3B3001C1-9437-F096-7EF8-0FDA233F244A}"/>
              </a:ext>
            </a:extLst>
          </p:cNvPr>
          <p:cNvCxnSpPr/>
          <p:nvPr/>
        </p:nvCxnSpPr>
        <p:spPr>
          <a:xfrm flipV="1">
            <a:off x="3063524" y="1113368"/>
            <a:ext cx="4258730" cy="1392765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white background with red text&#10;&#10;Description automatically generated">
            <a:extLst>
              <a:ext uri="{FF2B5EF4-FFF2-40B4-BE49-F238E27FC236}">
                <a16:creationId xmlns:a16="http://schemas.microsoft.com/office/drawing/2014/main" id="{74AFAFCE-4F2E-F3B4-C1C0-3DC0AA7E20C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1871" y="2375550"/>
            <a:ext cx="3043709" cy="1010411"/>
          </a:xfrm>
          <a:prstGeom prst="rect">
            <a:avLst/>
          </a:prstGeom>
          <a:ln w="28575">
            <a:solidFill>
              <a:schemeClr val="accent2"/>
            </a:solidFill>
          </a:ln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A1ED6B5D-4CAB-BE7E-BB5B-E070EA9BF18B}"/>
              </a:ext>
            </a:extLst>
          </p:cNvPr>
          <p:cNvCxnSpPr>
            <a:cxnSpLocks/>
          </p:cNvCxnSpPr>
          <p:nvPr/>
        </p:nvCxnSpPr>
        <p:spPr>
          <a:xfrm flipV="1">
            <a:off x="2435579" y="2884310"/>
            <a:ext cx="1866898" cy="16932"/>
          </a:xfrm>
          <a:prstGeom prst="straightConnector1">
            <a:avLst/>
          </a:prstGeom>
          <a:ln w="28575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3E41CBE-9BEC-2C37-7545-00BD9350C84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68999" y="3659619"/>
            <a:ext cx="2660684" cy="2010901"/>
          </a:xfrm>
          <a:prstGeom prst="rect">
            <a:avLst/>
          </a:prstGeom>
          <a:ln w="28575">
            <a:solidFill>
              <a:schemeClr val="accent5"/>
            </a:solidFill>
          </a:ln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7D60B76A-EC3E-EEEF-38D0-FAEC935C6877}"/>
              </a:ext>
            </a:extLst>
          </p:cNvPr>
          <p:cNvCxnSpPr>
            <a:cxnSpLocks/>
          </p:cNvCxnSpPr>
          <p:nvPr/>
        </p:nvCxnSpPr>
        <p:spPr>
          <a:xfrm>
            <a:off x="2654300" y="3268132"/>
            <a:ext cx="2501899" cy="667456"/>
          </a:xfrm>
          <a:prstGeom prst="straightConnector1">
            <a:avLst/>
          </a:prstGeom>
          <a:ln w="28575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C51B630A-1CBB-D9AF-7729-5F3D9B53861D}"/>
              </a:ext>
            </a:extLst>
          </p:cNvPr>
          <p:cNvSpPr txBox="1"/>
          <p:nvPr/>
        </p:nvSpPr>
        <p:spPr>
          <a:xfrm>
            <a:off x="271824" y="6418030"/>
            <a:ext cx="4749502" cy="307777"/>
          </a:xfrm>
          <a:prstGeom prst="rect">
            <a:avLst/>
          </a:prstGeom>
          <a:solidFill>
            <a:srgbClr val="FBF1AC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 i="1" dirty="0">
                <a:latin typeface="Aptos Display"/>
                <a:ea typeface="Calibri"/>
                <a:cs typeface="Calibri"/>
              </a:rPr>
              <a:t>Do NOT include hospital's identifying information.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6849172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ED54BC-687B-95DC-B1DF-ECE635CC74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smtClean="0"/>
              <a:pPr>
                <a:spcAft>
                  <a:spcPts val="600"/>
                </a:spcAft>
              </a:pPr>
              <a:t>12</a:t>
            </a:fld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C58FC57-4D18-10A3-6DE1-E936A9D08960}"/>
              </a:ext>
            </a:extLst>
          </p:cNvPr>
          <p:cNvSpPr txBox="1"/>
          <p:nvPr/>
        </p:nvSpPr>
        <p:spPr>
          <a:xfrm>
            <a:off x="175423" y="377136"/>
            <a:ext cx="2909488" cy="110799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200" b="1">
                <a:latin typeface="Aptos Display"/>
                <a:ea typeface="Calibri"/>
                <a:cs typeface="Calibri"/>
              </a:rPr>
              <a:t>Develop your poster using our ILPQC template </a:t>
            </a:r>
            <a:r>
              <a:rPr lang="en-US" sz="2200" b="1" dirty="0">
                <a:latin typeface="Aptos Display"/>
                <a:ea typeface="Calibri"/>
                <a:cs typeface="Calibri"/>
                <a:hlinkClick r:id="rId2"/>
              </a:rPr>
              <a:t>here.</a:t>
            </a:r>
            <a:endParaRPr lang="en-US" sz="2200" b="1" dirty="0">
              <a:latin typeface="Aptos Display"/>
              <a:ea typeface="Calibri"/>
              <a:cs typeface="Calibri"/>
            </a:endParaRPr>
          </a:p>
        </p:txBody>
      </p:sp>
      <p:pic>
        <p:nvPicPr>
          <p:cNvPr id="31" name="Picture 30" descr="A screenshot of a medical report&#10;&#10;Description automatically generated">
            <a:extLst>
              <a:ext uri="{FF2B5EF4-FFF2-40B4-BE49-F238E27FC236}">
                <a16:creationId xmlns:a16="http://schemas.microsoft.com/office/drawing/2014/main" id="{730AB6C8-391E-A9B4-D01E-4B088040A6A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8445" y="-8021"/>
            <a:ext cx="8574389" cy="636552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96F5906-20E1-DB1C-9C26-2BD93517D354}"/>
              </a:ext>
            </a:extLst>
          </p:cNvPr>
          <p:cNvSpPr txBox="1"/>
          <p:nvPr/>
        </p:nvSpPr>
        <p:spPr>
          <a:xfrm>
            <a:off x="323591" y="1992859"/>
            <a:ext cx="2606098" cy="2123658"/>
          </a:xfrm>
          <a:prstGeom prst="rect">
            <a:avLst/>
          </a:prstGeom>
          <a:noFill/>
          <a:ln w="57150">
            <a:solidFill>
              <a:srgbClr val="FBF1AC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200" b="1" dirty="0">
                <a:latin typeface="Aptos Display"/>
                <a:ea typeface="Calibri"/>
                <a:cs typeface="Calibri"/>
              </a:rPr>
              <a:t>Abstract Content: </a:t>
            </a:r>
          </a:p>
          <a:p>
            <a:pPr marL="457200" indent="-457200">
              <a:buFont typeface="Arial"/>
              <a:buChar char="•"/>
            </a:pPr>
            <a:r>
              <a:rPr lang="en-US" sz="2200" dirty="0">
                <a:latin typeface="Aptos Display"/>
                <a:ea typeface="Calibri"/>
                <a:cs typeface="Calibri"/>
              </a:rPr>
              <a:t>Problem</a:t>
            </a:r>
          </a:p>
          <a:p>
            <a:pPr marL="457200" indent="-457200">
              <a:buFont typeface="Arial"/>
              <a:buChar char="•"/>
            </a:pPr>
            <a:r>
              <a:rPr lang="en-US" sz="2200" dirty="0">
                <a:latin typeface="Aptos Display"/>
                <a:ea typeface="Calibri"/>
                <a:cs typeface="Calibri"/>
              </a:rPr>
              <a:t>Project Implementation</a:t>
            </a:r>
          </a:p>
          <a:p>
            <a:pPr marL="457200" indent="-457200">
              <a:buFont typeface="Arial"/>
              <a:buChar char="•"/>
            </a:pPr>
            <a:r>
              <a:rPr lang="en-US" sz="2200" dirty="0">
                <a:latin typeface="Aptos Display"/>
                <a:ea typeface="Calibri"/>
                <a:cs typeface="Calibri"/>
              </a:rPr>
              <a:t>Results</a:t>
            </a:r>
          </a:p>
          <a:p>
            <a:pPr marL="457200" indent="-457200">
              <a:buFont typeface="Arial"/>
              <a:buChar char="•"/>
            </a:pPr>
            <a:r>
              <a:rPr lang="en-US" sz="2200" dirty="0">
                <a:latin typeface="Aptos Display"/>
                <a:ea typeface="Calibri"/>
                <a:cs typeface="Calibri"/>
              </a:rPr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5548732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>
            <a:extLst>
              <a:ext uri="{FF2B5EF4-FFF2-40B4-BE49-F238E27FC236}">
                <a16:creationId xmlns:a16="http://schemas.microsoft.com/office/drawing/2014/main" id="{2D1335FE-DD13-3849-1D8F-91B721410AC9}"/>
              </a:ext>
            </a:extLst>
          </p:cNvPr>
          <p:cNvSpPr txBox="1"/>
          <p:nvPr/>
        </p:nvSpPr>
        <p:spPr>
          <a:xfrm>
            <a:off x="2177142" y="388775"/>
            <a:ext cx="2743200" cy="3657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00C77B3-6520-4CE2-5B99-7318C64DA2C4}"/>
              </a:ext>
            </a:extLst>
          </p:cNvPr>
          <p:cNvGrpSpPr/>
          <p:nvPr/>
        </p:nvGrpSpPr>
        <p:grpSpPr>
          <a:xfrm>
            <a:off x="196332" y="1112696"/>
            <a:ext cx="10626055" cy="4247648"/>
            <a:chOff x="224295" y="2042476"/>
            <a:chExt cx="10626055" cy="4247648"/>
          </a:xfrm>
        </p:grpSpPr>
        <p:pic>
          <p:nvPicPr>
            <p:cNvPr id="28" name="Picture 27" descr="A white rectangular box with black text&#10;&#10;Description automatically generated">
              <a:extLst>
                <a:ext uri="{FF2B5EF4-FFF2-40B4-BE49-F238E27FC236}">
                  <a16:creationId xmlns:a16="http://schemas.microsoft.com/office/drawing/2014/main" id="{AF7A07DE-24B2-6C71-E0B4-C2FB1895F3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4295" y="4399585"/>
              <a:ext cx="10626055" cy="1890539"/>
            </a:xfrm>
            <a:prstGeom prst="rect">
              <a:avLst/>
            </a:prstGeom>
          </p:spPr>
        </p:pic>
        <p:pic>
          <p:nvPicPr>
            <p:cNvPr id="29" name="Picture 28" descr="A white and blue box with black text&#10;&#10;Description automatically generated">
              <a:extLst>
                <a:ext uri="{FF2B5EF4-FFF2-40B4-BE49-F238E27FC236}">
                  <a16:creationId xmlns:a16="http://schemas.microsoft.com/office/drawing/2014/main" id="{FF2F7C12-D53F-366A-7D65-B7B37E06E64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0964" y="2042476"/>
              <a:ext cx="10465265" cy="2310844"/>
            </a:xfrm>
            <a:prstGeom prst="rect">
              <a:avLst/>
            </a:prstGeom>
          </p:spPr>
        </p:pic>
      </p:grpSp>
      <p:sp>
        <p:nvSpPr>
          <p:cNvPr id="3" name="Star: 5 Points 2">
            <a:extLst>
              <a:ext uri="{FF2B5EF4-FFF2-40B4-BE49-F238E27FC236}">
                <a16:creationId xmlns:a16="http://schemas.microsoft.com/office/drawing/2014/main" id="{C28017ED-C40F-EC9C-C26B-1A208FF6C24F}"/>
              </a:ext>
            </a:extLst>
          </p:cNvPr>
          <p:cNvSpPr/>
          <p:nvPr/>
        </p:nvSpPr>
        <p:spPr>
          <a:xfrm>
            <a:off x="5507772" y="1939454"/>
            <a:ext cx="328569" cy="321579"/>
          </a:xfrm>
          <a:prstGeom prst="star5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tar: 5 Points 3">
            <a:extLst>
              <a:ext uri="{FF2B5EF4-FFF2-40B4-BE49-F238E27FC236}">
                <a16:creationId xmlns:a16="http://schemas.microsoft.com/office/drawing/2014/main" id="{61EE79ED-EE07-7BB9-C30A-C077D1CC5EB2}"/>
              </a:ext>
            </a:extLst>
          </p:cNvPr>
          <p:cNvSpPr/>
          <p:nvPr/>
        </p:nvSpPr>
        <p:spPr>
          <a:xfrm>
            <a:off x="5507771" y="2946133"/>
            <a:ext cx="328569" cy="321579"/>
          </a:xfrm>
          <a:prstGeom prst="star5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tar: 5 Points 4">
            <a:extLst>
              <a:ext uri="{FF2B5EF4-FFF2-40B4-BE49-F238E27FC236}">
                <a16:creationId xmlns:a16="http://schemas.microsoft.com/office/drawing/2014/main" id="{742FC4E5-8756-F226-2BBC-554434AD2A39}"/>
              </a:ext>
            </a:extLst>
          </p:cNvPr>
          <p:cNvSpPr/>
          <p:nvPr/>
        </p:nvSpPr>
        <p:spPr>
          <a:xfrm>
            <a:off x="5507771" y="4071656"/>
            <a:ext cx="328569" cy="321579"/>
          </a:xfrm>
          <a:prstGeom prst="star5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tar: 5 Points 5">
            <a:extLst>
              <a:ext uri="{FF2B5EF4-FFF2-40B4-BE49-F238E27FC236}">
                <a16:creationId xmlns:a16="http://schemas.microsoft.com/office/drawing/2014/main" id="{E25F4ABD-2181-4225-43FC-FE41ABE89460}"/>
              </a:ext>
            </a:extLst>
          </p:cNvPr>
          <p:cNvSpPr/>
          <p:nvPr/>
        </p:nvSpPr>
        <p:spPr>
          <a:xfrm>
            <a:off x="5507770" y="4924536"/>
            <a:ext cx="328569" cy="321579"/>
          </a:xfrm>
          <a:prstGeom prst="star5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326E535-2AFA-02F0-EB4F-C3445F9D28B4}"/>
              </a:ext>
            </a:extLst>
          </p:cNvPr>
          <p:cNvGrpSpPr/>
          <p:nvPr/>
        </p:nvGrpSpPr>
        <p:grpSpPr>
          <a:xfrm>
            <a:off x="10346961" y="5084105"/>
            <a:ext cx="1846771" cy="1689296"/>
            <a:chOff x="2941850" y="1156254"/>
            <a:chExt cx="3261672" cy="3575819"/>
          </a:xfrm>
        </p:grpSpPr>
        <p:sp>
          <p:nvSpPr>
            <p:cNvPr id="9" name="Google Shape;412;p31">
              <a:extLst>
                <a:ext uri="{FF2B5EF4-FFF2-40B4-BE49-F238E27FC236}">
                  <a16:creationId xmlns:a16="http://schemas.microsoft.com/office/drawing/2014/main" id="{569CF7D3-0644-4B33-7144-278D2902C5BB}"/>
                </a:ext>
              </a:extLst>
            </p:cNvPr>
            <p:cNvSpPr/>
            <p:nvPr/>
          </p:nvSpPr>
          <p:spPr>
            <a:xfrm>
              <a:off x="3249367" y="1156254"/>
              <a:ext cx="2640465" cy="3575819"/>
            </a:xfrm>
            <a:custGeom>
              <a:avLst/>
              <a:gdLst/>
              <a:ahLst/>
              <a:cxnLst/>
              <a:rect l="l" t="t" r="r" b="b"/>
              <a:pathLst>
                <a:path w="85307" h="115526" extrusionOk="0">
                  <a:moveTo>
                    <a:pt x="6144" y="4756"/>
                  </a:moveTo>
                  <a:lnTo>
                    <a:pt x="7135" y="4954"/>
                  </a:lnTo>
                  <a:lnTo>
                    <a:pt x="8125" y="5152"/>
                  </a:lnTo>
                  <a:lnTo>
                    <a:pt x="9116" y="5251"/>
                  </a:lnTo>
                  <a:lnTo>
                    <a:pt x="10107" y="5350"/>
                  </a:lnTo>
                  <a:lnTo>
                    <a:pt x="11593" y="5648"/>
                  </a:lnTo>
                  <a:lnTo>
                    <a:pt x="12386" y="5747"/>
                  </a:lnTo>
                  <a:lnTo>
                    <a:pt x="13079" y="5648"/>
                  </a:lnTo>
                  <a:lnTo>
                    <a:pt x="13575" y="5747"/>
                  </a:lnTo>
                  <a:lnTo>
                    <a:pt x="14268" y="5747"/>
                  </a:lnTo>
                  <a:lnTo>
                    <a:pt x="14466" y="5846"/>
                  </a:lnTo>
                  <a:lnTo>
                    <a:pt x="14565" y="6044"/>
                  </a:lnTo>
                  <a:lnTo>
                    <a:pt x="14664" y="6341"/>
                  </a:lnTo>
                  <a:lnTo>
                    <a:pt x="14863" y="6936"/>
                  </a:lnTo>
                  <a:lnTo>
                    <a:pt x="15061" y="7629"/>
                  </a:lnTo>
                  <a:lnTo>
                    <a:pt x="15556" y="8818"/>
                  </a:lnTo>
                  <a:lnTo>
                    <a:pt x="16151" y="10007"/>
                  </a:lnTo>
                  <a:lnTo>
                    <a:pt x="16547" y="10503"/>
                  </a:lnTo>
                  <a:lnTo>
                    <a:pt x="16943" y="11097"/>
                  </a:lnTo>
                  <a:lnTo>
                    <a:pt x="17637" y="11791"/>
                  </a:lnTo>
                  <a:lnTo>
                    <a:pt x="18429" y="12484"/>
                  </a:lnTo>
                  <a:lnTo>
                    <a:pt x="18826" y="12880"/>
                  </a:lnTo>
                  <a:lnTo>
                    <a:pt x="19024" y="13079"/>
                  </a:lnTo>
                  <a:lnTo>
                    <a:pt x="19321" y="13178"/>
                  </a:lnTo>
                  <a:lnTo>
                    <a:pt x="19420" y="13376"/>
                  </a:lnTo>
                  <a:lnTo>
                    <a:pt x="19420" y="13475"/>
                  </a:lnTo>
                  <a:lnTo>
                    <a:pt x="19420" y="13673"/>
                  </a:lnTo>
                  <a:lnTo>
                    <a:pt x="19222" y="14168"/>
                  </a:lnTo>
                  <a:lnTo>
                    <a:pt x="19123" y="14664"/>
                  </a:lnTo>
                  <a:lnTo>
                    <a:pt x="19024" y="15754"/>
                  </a:lnTo>
                  <a:lnTo>
                    <a:pt x="18925" y="16447"/>
                  </a:lnTo>
                  <a:lnTo>
                    <a:pt x="18826" y="17042"/>
                  </a:lnTo>
                  <a:lnTo>
                    <a:pt x="18628" y="17636"/>
                  </a:lnTo>
                  <a:lnTo>
                    <a:pt x="18628" y="18330"/>
                  </a:lnTo>
                  <a:lnTo>
                    <a:pt x="18429" y="19320"/>
                  </a:lnTo>
                  <a:lnTo>
                    <a:pt x="18231" y="20212"/>
                  </a:lnTo>
                  <a:lnTo>
                    <a:pt x="18132" y="20807"/>
                  </a:lnTo>
                  <a:lnTo>
                    <a:pt x="18033" y="21500"/>
                  </a:lnTo>
                  <a:lnTo>
                    <a:pt x="17934" y="22689"/>
                  </a:lnTo>
                  <a:lnTo>
                    <a:pt x="17736" y="23779"/>
                  </a:lnTo>
                  <a:lnTo>
                    <a:pt x="17736" y="24770"/>
                  </a:lnTo>
                  <a:lnTo>
                    <a:pt x="17439" y="28931"/>
                  </a:lnTo>
                  <a:lnTo>
                    <a:pt x="17439" y="29724"/>
                  </a:lnTo>
                  <a:lnTo>
                    <a:pt x="17439" y="30516"/>
                  </a:lnTo>
                  <a:lnTo>
                    <a:pt x="17538" y="31408"/>
                  </a:lnTo>
                  <a:lnTo>
                    <a:pt x="17439" y="32300"/>
                  </a:lnTo>
                  <a:lnTo>
                    <a:pt x="17439" y="32498"/>
                  </a:lnTo>
                  <a:lnTo>
                    <a:pt x="17538" y="32597"/>
                  </a:lnTo>
                  <a:lnTo>
                    <a:pt x="17538" y="32795"/>
                  </a:lnTo>
                  <a:lnTo>
                    <a:pt x="17439" y="32894"/>
                  </a:lnTo>
                  <a:lnTo>
                    <a:pt x="17240" y="32894"/>
                  </a:lnTo>
                  <a:lnTo>
                    <a:pt x="17141" y="32696"/>
                  </a:lnTo>
                  <a:lnTo>
                    <a:pt x="16943" y="32399"/>
                  </a:lnTo>
                  <a:lnTo>
                    <a:pt x="15655" y="30814"/>
                  </a:lnTo>
                  <a:lnTo>
                    <a:pt x="15061" y="30021"/>
                  </a:lnTo>
                  <a:lnTo>
                    <a:pt x="14466" y="29228"/>
                  </a:lnTo>
                  <a:lnTo>
                    <a:pt x="13079" y="27049"/>
                  </a:lnTo>
                  <a:lnTo>
                    <a:pt x="11692" y="24968"/>
                  </a:lnTo>
                  <a:lnTo>
                    <a:pt x="9810" y="21698"/>
                  </a:lnTo>
                  <a:lnTo>
                    <a:pt x="9314" y="20608"/>
                  </a:lnTo>
                  <a:lnTo>
                    <a:pt x="8819" y="19519"/>
                  </a:lnTo>
                  <a:lnTo>
                    <a:pt x="7927" y="17339"/>
                  </a:lnTo>
                  <a:lnTo>
                    <a:pt x="7234" y="15357"/>
                  </a:lnTo>
                  <a:lnTo>
                    <a:pt x="6639" y="13277"/>
                  </a:lnTo>
                  <a:lnTo>
                    <a:pt x="6243" y="11592"/>
                  </a:lnTo>
                  <a:lnTo>
                    <a:pt x="5946" y="9809"/>
                  </a:lnTo>
                  <a:lnTo>
                    <a:pt x="5847" y="8620"/>
                  </a:lnTo>
                  <a:lnTo>
                    <a:pt x="5747" y="7332"/>
                  </a:lnTo>
                  <a:lnTo>
                    <a:pt x="5648" y="6738"/>
                  </a:lnTo>
                  <a:lnTo>
                    <a:pt x="5747" y="6143"/>
                  </a:lnTo>
                  <a:lnTo>
                    <a:pt x="5847" y="4855"/>
                  </a:lnTo>
                  <a:lnTo>
                    <a:pt x="5946" y="4756"/>
                  </a:lnTo>
                  <a:close/>
                  <a:moveTo>
                    <a:pt x="78966" y="4954"/>
                  </a:moveTo>
                  <a:lnTo>
                    <a:pt x="79263" y="5053"/>
                  </a:lnTo>
                  <a:lnTo>
                    <a:pt x="79362" y="5053"/>
                  </a:lnTo>
                  <a:lnTo>
                    <a:pt x="79461" y="5251"/>
                  </a:lnTo>
                  <a:lnTo>
                    <a:pt x="79461" y="5549"/>
                  </a:lnTo>
                  <a:lnTo>
                    <a:pt x="79560" y="5846"/>
                  </a:lnTo>
                  <a:lnTo>
                    <a:pt x="79560" y="6242"/>
                  </a:lnTo>
                  <a:lnTo>
                    <a:pt x="79560" y="6936"/>
                  </a:lnTo>
                  <a:lnTo>
                    <a:pt x="79560" y="7233"/>
                  </a:lnTo>
                  <a:lnTo>
                    <a:pt x="79560" y="7431"/>
                  </a:lnTo>
                  <a:lnTo>
                    <a:pt x="79659" y="7530"/>
                  </a:lnTo>
                  <a:lnTo>
                    <a:pt x="79759" y="7629"/>
                  </a:lnTo>
                  <a:lnTo>
                    <a:pt x="79659" y="7728"/>
                  </a:lnTo>
                  <a:lnTo>
                    <a:pt x="79560" y="7827"/>
                  </a:lnTo>
                  <a:lnTo>
                    <a:pt x="79461" y="7926"/>
                  </a:lnTo>
                  <a:lnTo>
                    <a:pt x="79659" y="8026"/>
                  </a:lnTo>
                  <a:lnTo>
                    <a:pt x="79560" y="8125"/>
                  </a:lnTo>
                  <a:lnTo>
                    <a:pt x="79560" y="8224"/>
                  </a:lnTo>
                  <a:lnTo>
                    <a:pt x="79560" y="8422"/>
                  </a:lnTo>
                  <a:lnTo>
                    <a:pt x="79560" y="8620"/>
                  </a:lnTo>
                  <a:lnTo>
                    <a:pt x="79560" y="8719"/>
                  </a:lnTo>
                  <a:lnTo>
                    <a:pt x="79461" y="8818"/>
                  </a:lnTo>
                  <a:lnTo>
                    <a:pt x="79362" y="8917"/>
                  </a:lnTo>
                  <a:lnTo>
                    <a:pt x="79461" y="9016"/>
                  </a:lnTo>
                  <a:lnTo>
                    <a:pt x="79560" y="9115"/>
                  </a:lnTo>
                  <a:lnTo>
                    <a:pt x="79461" y="9314"/>
                  </a:lnTo>
                  <a:lnTo>
                    <a:pt x="79461" y="9413"/>
                  </a:lnTo>
                  <a:lnTo>
                    <a:pt x="79461" y="9710"/>
                  </a:lnTo>
                  <a:lnTo>
                    <a:pt x="79560" y="10007"/>
                  </a:lnTo>
                  <a:lnTo>
                    <a:pt x="79560" y="10106"/>
                  </a:lnTo>
                  <a:lnTo>
                    <a:pt x="79560" y="10304"/>
                  </a:lnTo>
                  <a:lnTo>
                    <a:pt x="79461" y="10602"/>
                  </a:lnTo>
                  <a:lnTo>
                    <a:pt x="79362" y="10800"/>
                  </a:lnTo>
                  <a:lnTo>
                    <a:pt x="79263" y="10998"/>
                  </a:lnTo>
                  <a:lnTo>
                    <a:pt x="79263" y="11097"/>
                  </a:lnTo>
                  <a:lnTo>
                    <a:pt x="79461" y="11295"/>
                  </a:lnTo>
                  <a:lnTo>
                    <a:pt x="79362" y="11592"/>
                  </a:lnTo>
                  <a:lnTo>
                    <a:pt x="79362" y="11691"/>
                  </a:lnTo>
                  <a:lnTo>
                    <a:pt x="79164" y="11791"/>
                  </a:lnTo>
                  <a:lnTo>
                    <a:pt x="79065" y="11890"/>
                  </a:lnTo>
                  <a:lnTo>
                    <a:pt x="78966" y="11989"/>
                  </a:lnTo>
                  <a:lnTo>
                    <a:pt x="78966" y="12286"/>
                  </a:lnTo>
                  <a:lnTo>
                    <a:pt x="78966" y="12385"/>
                  </a:lnTo>
                  <a:lnTo>
                    <a:pt x="79164" y="12385"/>
                  </a:lnTo>
                  <a:lnTo>
                    <a:pt x="79263" y="12484"/>
                  </a:lnTo>
                  <a:lnTo>
                    <a:pt x="78966" y="12682"/>
                  </a:lnTo>
                  <a:lnTo>
                    <a:pt x="78867" y="12880"/>
                  </a:lnTo>
                  <a:lnTo>
                    <a:pt x="78768" y="13178"/>
                  </a:lnTo>
                  <a:lnTo>
                    <a:pt x="78768" y="13574"/>
                  </a:lnTo>
                  <a:lnTo>
                    <a:pt x="78768" y="13673"/>
                  </a:lnTo>
                  <a:lnTo>
                    <a:pt x="78669" y="13871"/>
                  </a:lnTo>
                  <a:lnTo>
                    <a:pt x="78570" y="14069"/>
                  </a:lnTo>
                  <a:lnTo>
                    <a:pt x="78768" y="14267"/>
                  </a:lnTo>
                  <a:lnTo>
                    <a:pt x="78570" y="14367"/>
                  </a:lnTo>
                  <a:lnTo>
                    <a:pt x="78471" y="14565"/>
                  </a:lnTo>
                  <a:lnTo>
                    <a:pt x="78272" y="15456"/>
                  </a:lnTo>
                  <a:lnTo>
                    <a:pt x="78074" y="15952"/>
                  </a:lnTo>
                  <a:lnTo>
                    <a:pt x="77777" y="16249"/>
                  </a:lnTo>
                  <a:lnTo>
                    <a:pt x="77678" y="16348"/>
                  </a:lnTo>
                  <a:lnTo>
                    <a:pt x="77678" y="16447"/>
                  </a:lnTo>
                  <a:lnTo>
                    <a:pt x="77777" y="16844"/>
                  </a:lnTo>
                  <a:lnTo>
                    <a:pt x="77678" y="17240"/>
                  </a:lnTo>
                  <a:lnTo>
                    <a:pt x="77183" y="18032"/>
                  </a:lnTo>
                  <a:lnTo>
                    <a:pt x="76885" y="18627"/>
                  </a:lnTo>
                  <a:lnTo>
                    <a:pt x="76885" y="18924"/>
                  </a:lnTo>
                  <a:lnTo>
                    <a:pt x="76885" y="19320"/>
                  </a:lnTo>
                  <a:lnTo>
                    <a:pt x="76885" y="19420"/>
                  </a:lnTo>
                  <a:lnTo>
                    <a:pt x="76687" y="19320"/>
                  </a:lnTo>
                  <a:lnTo>
                    <a:pt x="76588" y="19420"/>
                  </a:lnTo>
                  <a:lnTo>
                    <a:pt x="76588" y="19717"/>
                  </a:lnTo>
                  <a:lnTo>
                    <a:pt x="76489" y="20014"/>
                  </a:lnTo>
                  <a:lnTo>
                    <a:pt x="76489" y="20113"/>
                  </a:lnTo>
                  <a:lnTo>
                    <a:pt x="76291" y="20113"/>
                  </a:lnTo>
                  <a:lnTo>
                    <a:pt x="76192" y="20608"/>
                  </a:lnTo>
                  <a:lnTo>
                    <a:pt x="76093" y="21005"/>
                  </a:lnTo>
                  <a:lnTo>
                    <a:pt x="75895" y="21302"/>
                  </a:lnTo>
                  <a:lnTo>
                    <a:pt x="75696" y="21599"/>
                  </a:lnTo>
                  <a:lnTo>
                    <a:pt x="75399" y="21896"/>
                  </a:lnTo>
                  <a:lnTo>
                    <a:pt x="75498" y="22095"/>
                  </a:lnTo>
                  <a:lnTo>
                    <a:pt x="75498" y="22194"/>
                  </a:lnTo>
                  <a:lnTo>
                    <a:pt x="75300" y="22491"/>
                  </a:lnTo>
                  <a:lnTo>
                    <a:pt x="75102" y="22689"/>
                  </a:lnTo>
                  <a:lnTo>
                    <a:pt x="75003" y="22986"/>
                  </a:lnTo>
                  <a:lnTo>
                    <a:pt x="74805" y="23383"/>
                  </a:lnTo>
                  <a:lnTo>
                    <a:pt x="74607" y="23779"/>
                  </a:lnTo>
                  <a:lnTo>
                    <a:pt x="74111" y="24473"/>
                  </a:lnTo>
                  <a:lnTo>
                    <a:pt x="73616" y="25166"/>
                  </a:lnTo>
                  <a:lnTo>
                    <a:pt x="72724" y="26652"/>
                  </a:lnTo>
                  <a:lnTo>
                    <a:pt x="71931" y="27841"/>
                  </a:lnTo>
                  <a:lnTo>
                    <a:pt x="71535" y="28436"/>
                  </a:lnTo>
                  <a:lnTo>
                    <a:pt x="71238" y="29030"/>
                  </a:lnTo>
                  <a:lnTo>
                    <a:pt x="71040" y="29228"/>
                  </a:lnTo>
                  <a:lnTo>
                    <a:pt x="70842" y="29426"/>
                  </a:lnTo>
                  <a:lnTo>
                    <a:pt x="70643" y="29724"/>
                  </a:lnTo>
                  <a:lnTo>
                    <a:pt x="70544" y="30021"/>
                  </a:lnTo>
                  <a:lnTo>
                    <a:pt x="70544" y="30120"/>
                  </a:lnTo>
                  <a:lnTo>
                    <a:pt x="70346" y="30120"/>
                  </a:lnTo>
                  <a:lnTo>
                    <a:pt x="70247" y="30219"/>
                  </a:lnTo>
                  <a:lnTo>
                    <a:pt x="70148" y="30219"/>
                  </a:lnTo>
                  <a:lnTo>
                    <a:pt x="69950" y="30714"/>
                  </a:lnTo>
                  <a:lnTo>
                    <a:pt x="69653" y="31111"/>
                  </a:lnTo>
                  <a:lnTo>
                    <a:pt x="69058" y="31804"/>
                  </a:lnTo>
                  <a:lnTo>
                    <a:pt x="68662" y="32399"/>
                  </a:lnTo>
                  <a:lnTo>
                    <a:pt x="68464" y="32696"/>
                  </a:lnTo>
                  <a:lnTo>
                    <a:pt x="68166" y="32993"/>
                  </a:lnTo>
                  <a:lnTo>
                    <a:pt x="68067" y="33092"/>
                  </a:lnTo>
                  <a:lnTo>
                    <a:pt x="67968" y="33290"/>
                  </a:lnTo>
                  <a:lnTo>
                    <a:pt x="67869" y="33489"/>
                  </a:lnTo>
                  <a:lnTo>
                    <a:pt x="67770" y="33588"/>
                  </a:lnTo>
                  <a:lnTo>
                    <a:pt x="67473" y="33588"/>
                  </a:lnTo>
                  <a:lnTo>
                    <a:pt x="67671" y="33290"/>
                  </a:lnTo>
                  <a:lnTo>
                    <a:pt x="67671" y="32993"/>
                  </a:lnTo>
                  <a:lnTo>
                    <a:pt x="67572" y="32399"/>
                  </a:lnTo>
                  <a:lnTo>
                    <a:pt x="67572" y="31210"/>
                  </a:lnTo>
                  <a:lnTo>
                    <a:pt x="67572" y="29922"/>
                  </a:lnTo>
                  <a:lnTo>
                    <a:pt x="67572" y="28237"/>
                  </a:lnTo>
                  <a:lnTo>
                    <a:pt x="67572" y="27445"/>
                  </a:lnTo>
                  <a:lnTo>
                    <a:pt x="67473" y="26553"/>
                  </a:lnTo>
                  <a:lnTo>
                    <a:pt x="67374" y="25959"/>
                  </a:lnTo>
                  <a:lnTo>
                    <a:pt x="67374" y="25661"/>
                  </a:lnTo>
                  <a:lnTo>
                    <a:pt x="67374" y="25265"/>
                  </a:lnTo>
                  <a:lnTo>
                    <a:pt x="67374" y="24968"/>
                  </a:lnTo>
                  <a:lnTo>
                    <a:pt x="67374" y="24572"/>
                  </a:lnTo>
                  <a:lnTo>
                    <a:pt x="67176" y="23779"/>
                  </a:lnTo>
                  <a:lnTo>
                    <a:pt x="66978" y="21896"/>
                  </a:lnTo>
                  <a:lnTo>
                    <a:pt x="66680" y="20014"/>
                  </a:lnTo>
                  <a:lnTo>
                    <a:pt x="66383" y="18330"/>
                  </a:lnTo>
                  <a:lnTo>
                    <a:pt x="66086" y="16645"/>
                  </a:lnTo>
                  <a:lnTo>
                    <a:pt x="65888" y="15258"/>
                  </a:lnTo>
                  <a:lnTo>
                    <a:pt x="65590" y="13871"/>
                  </a:lnTo>
                  <a:lnTo>
                    <a:pt x="65491" y="13673"/>
                  </a:lnTo>
                  <a:lnTo>
                    <a:pt x="65590" y="13475"/>
                  </a:lnTo>
                  <a:lnTo>
                    <a:pt x="65690" y="13178"/>
                  </a:lnTo>
                  <a:lnTo>
                    <a:pt x="65987" y="12979"/>
                  </a:lnTo>
                  <a:lnTo>
                    <a:pt x="66284" y="12979"/>
                  </a:lnTo>
                  <a:lnTo>
                    <a:pt x="66878" y="12682"/>
                  </a:lnTo>
                  <a:lnTo>
                    <a:pt x="67374" y="12187"/>
                  </a:lnTo>
                  <a:lnTo>
                    <a:pt x="68166" y="11295"/>
                  </a:lnTo>
                  <a:lnTo>
                    <a:pt x="68761" y="10602"/>
                  </a:lnTo>
                  <a:lnTo>
                    <a:pt x="69256" y="9809"/>
                  </a:lnTo>
                  <a:lnTo>
                    <a:pt x="69752" y="8917"/>
                  </a:lnTo>
                  <a:lnTo>
                    <a:pt x="70049" y="8026"/>
                  </a:lnTo>
                  <a:lnTo>
                    <a:pt x="70346" y="7134"/>
                  </a:lnTo>
                  <a:lnTo>
                    <a:pt x="70544" y="6341"/>
                  </a:lnTo>
                  <a:lnTo>
                    <a:pt x="70643" y="6143"/>
                  </a:lnTo>
                  <a:lnTo>
                    <a:pt x="70742" y="5945"/>
                  </a:lnTo>
                  <a:lnTo>
                    <a:pt x="70941" y="5846"/>
                  </a:lnTo>
                  <a:lnTo>
                    <a:pt x="72526" y="5846"/>
                  </a:lnTo>
                  <a:lnTo>
                    <a:pt x="73913" y="5648"/>
                  </a:lnTo>
                  <a:lnTo>
                    <a:pt x="75399" y="5549"/>
                  </a:lnTo>
                  <a:lnTo>
                    <a:pt x="76786" y="5251"/>
                  </a:lnTo>
                  <a:lnTo>
                    <a:pt x="77678" y="5152"/>
                  </a:lnTo>
                  <a:lnTo>
                    <a:pt x="78669" y="5053"/>
                  </a:lnTo>
                  <a:lnTo>
                    <a:pt x="78966" y="4954"/>
                  </a:lnTo>
                  <a:close/>
                  <a:moveTo>
                    <a:pt x="2082" y="0"/>
                  </a:moveTo>
                  <a:lnTo>
                    <a:pt x="1685" y="99"/>
                  </a:lnTo>
                  <a:lnTo>
                    <a:pt x="1091" y="397"/>
                  </a:lnTo>
                  <a:lnTo>
                    <a:pt x="794" y="595"/>
                  </a:lnTo>
                  <a:lnTo>
                    <a:pt x="595" y="991"/>
                  </a:lnTo>
                  <a:lnTo>
                    <a:pt x="397" y="1685"/>
                  </a:lnTo>
                  <a:lnTo>
                    <a:pt x="298" y="2378"/>
                  </a:lnTo>
                  <a:lnTo>
                    <a:pt x="100" y="4360"/>
                  </a:lnTo>
                  <a:lnTo>
                    <a:pt x="1" y="6242"/>
                  </a:lnTo>
                  <a:lnTo>
                    <a:pt x="1" y="7035"/>
                  </a:lnTo>
                  <a:lnTo>
                    <a:pt x="100" y="7926"/>
                  </a:lnTo>
                  <a:lnTo>
                    <a:pt x="298" y="9512"/>
                  </a:lnTo>
                  <a:lnTo>
                    <a:pt x="496" y="10998"/>
                  </a:lnTo>
                  <a:lnTo>
                    <a:pt x="893" y="12583"/>
                  </a:lnTo>
                  <a:lnTo>
                    <a:pt x="1091" y="13475"/>
                  </a:lnTo>
                  <a:lnTo>
                    <a:pt x="1487" y="14267"/>
                  </a:lnTo>
                  <a:lnTo>
                    <a:pt x="2082" y="16051"/>
                  </a:lnTo>
                  <a:lnTo>
                    <a:pt x="2478" y="17042"/>
                  </a:lnTo>
                  <a:lnTo>
                    <a:pt x="2874" y="18032"/>
                  </a:lnTo>
                  <a:lnTo>
                    <a:pt x="2973" y="18528"/>
                  </a:lnTo>
                  <a:lnTo>
                    <a:pt x="3072" y="18825"/>
                  </a:lnTo>
                  <a:lnTo>
                    <a:pt x="3271" y="19122"/>
                  </a:lnTo>
                  <a:lnTo>
                    <a:pt x="3568" y="19717"/>
                  </a:lnTo>
                  <a:lnTo>
                    <a:pt x="3865" y="20311"/>
                  </a:lnTo>
                  <a:lnTo>
                    <a:pt x="4459" y="21500"/>
                  </a:lnTo>
                  <a:lnTo>
                    <a:pt x="5153" y="22887"/>
                  </a:lnTo>
                  <a:lnTo>
                    <a:pt x="5847" y="24175"/>
                  </a:lnTo>
                  <a:lnTo>
                    <a:pt x="6639" y="25364"/>
                  </a:lnTo>
                  <a:lnTo>
                    <a:pt x="7531" y="26553"/>
                  </a:lnTo>
                  <a:lnTo>
                    <a:pt x="8323" y="27643"/>
                  </a:lnTo>
                  <a:lnTo>
                    <a:pt x="9215" y="28733"/>
                  </a:lnTo>
                  <a:lnTo>
                    <a:pt x="9711" y="29228"/>
                  </a:lnTo>
                  <a:lnTo>
                    <a:pt x="10107" y="29823"/>
                  </a:lnTo>
                  <a:lnTo>
                    <a:pt x="10602" y="30417"/>
                  </a:lnTo>
                  <a:lnTo>
                    <a:pt x="11098" y="30913"/>
                  </a:lnTo>
                  <a:lnTo>
                    <a:pt x="11593" y="31309"/>
                  </a:lnTo>
                  <a:lnTo>
                    <a:pt x="11989" y="31705"/>
                  </a:lnTo>
                  <a:lnTo>
                    <a:pt x="12386" y="32102"/>
                  </a:lnTo>
                  <a:lnTo>
                    <a:pt x="12782" y="32399"/>
                  </a:lnTo>
                  <a:lnTo>
                    <a:pt x="13277" y="32795"/>
                  </a:lnTo>
                  <a:lnTo>
                    <a:pt x="13773" y="33290"/>
                  </a:lnTo>
                  <a:lnTo>
                    <a:pt x="14169" y="33687"/>
                  </a:lnTo>
                  <a:lnTo>
                    <a:pt x="14664" y="34182"/>
                  </a:lnTo>
                  <a:lnTo>
                    <a:pt x="16052" y="35272"/>
                  </a:lnTo>
                  <a:lnTo>
                    <a:pt x="16745" y="35767"/>
                  </a:lnTo>
                  <a:lnTo>
                    <a:pt x="17439" y="36164"/>
                  </a:lnTo>
                  <a:lnTo>
                    <a:pt x="17637" y="36362"/>
                  </a:lnTo>
                  <a:lnTo>
                    <a:pt x="17736" y="36659"/>
                  </a:lnTo>
                  <a:lnTo>
                    <a:pt x="18033" y="37650"/>
                  </a:lnTo>
                  <a:lnTo>
                    <a:pt x="18231" y="38641"/>
                  </a:lnTo>
                  <a:lnTo>
                    <a:pt x="18429" y="39731"/>
                  </a:lnTo>
                  <a:lnTo>
                    <a:pt x="18826" y="40919"/>
                  </a:lnTo>
                  <a:lnTo>
                    <a:pt x="19321" y="41910"/>
                  </a:lnTo>
                  <a:lnTo>
                    <a:pt x="19916" y="43000"/>
                  </a:lnTo>
                  <a:lnTo>
                    <a:pt x="20213" y="43595"/>
                  </a:lnTo>
                  <a:lnTo>
                    <a:pt x="20411" y="43793"/>
                  </a:lnTo>
                  <a:lnTo>
                    <a:pt x="20609" y="43991"/>
                  </a:lnTo>
                  <a:lnTo>
                    <a:pt x="21005" y="44189"/>
                  </a:lnTo>
                  <a:lnTo>
                    <a:pt x="21303" y="44486"/>
                  </a:lnTo>
                  <a:lnTo>
                    <a:pt x="21600" y="44784"/>
                  </a:lnTo>
                  <a:lnTo>
                    <a:pt x="21798" y="44982"/>
                  </a:lnTo>
                  <a:lnTo>
                    <a:pt x="22293" y="45477"/>
                  </a:lnTo>
                  <a:lnTo>
                    <a:pt x="22888" y="45873"/>
                  </a:lnTo>
                  <a:lnTo>
                    <a:pt x="23780" y="46468"/>
                  </a:lnTo>
                  <a:lnTo>
                    <a:pt x="24671" y="46963"/>
                  </a:lnTo>
                  <a:lnTo>
                    <a:pt x="27346" y="48053"/>
                  </a:lnTo>
                  <a:lnTo>
                    <a:pt x="28634" y="48548"/>
                  </a:lnTo>
                  <a:lnTo>
                    <a:pt x="30022" y="48945"/>
                  </a:lnTo>
                  <a:lnTo>
                    <a:pt x="31111" y="49341"/>
                  </a:lnTo>
                  <a:lnTo>
                    <a:pt x="32300" y="49638"/>
                  </a:lnTo>
                  <a:lnTo>
                    <a:pt x="33390" y="49836"/>
                  </a:lnTo>
                  <a:lnTo>
                    <a:pt x="34480" y="50035"/>
                  </a:lnTo>
                  <a:lnTo>
                    <a:pt x="35570" y="50332"/>
                  </a:lnTo>
                  <a:lnTo>
                    <a:pt x="35867" y="50332"/>
                  </a:lnTo>
                  <a:lnTo>
                    <a:pt x="36065" y="50431"/>
                  </a:lnTo>
                  <a:lnTo>
                    <a:pt x="36065" y="50629"/>
                  </a:lnTo>
                  <a:lnTo>
                    <a:pt x="36164" y="51125"/>
                  </a:lnTo>
                  <a:lnTo>
                    <a:pt x="36164" y="51620"/>
                  </a:lnTo>
                  <a:lnTo>
                    <a:pt x="36164" y="52016"/>
                  </a:lnTo>
                  <a:lnTo>
                    <a:pt x="36164" y="52313"/>
                  </a:lnTo>
                  <a:lnTo>
                    <a:pt x="36362" y="52908"/>
                  </a:lnTo>
                  <a:lnTo>
                    <a:pt x="36660" y="53403"/>
                  </a:lnTo>
                  <a:lnTo>
                    <a:pt x="36759" y="53998"/>
                  </a:lnTo>
                  <a:lnTo>
                    <a:pt x="36759" y="54196"/>
                  </a:lnTo>
                  <a:lnTo>
                    <a:pt x="36858" y="54493"/>
                  </a:lnTo>
                  <a:lnTo>
                    <a:pt x="36957" y="54691"/>
                  </a:lnTo>
                  <a:lnTo>
                    <a:pt x="37056" y="54989"/>
                  </a:lnTo>
                  <a:lnTo>
                    <a:pt x="37254" y="55682"/>
                  </a:lnTo>
                  <a:lnTo>
                    <a:pt x="37452" y="56376"/>
                  </a:lnTo>
                  <a:lnTo>
                    <a:pt x="37651" y="56772"/>
                  </a:lnTo>
                  <a:lnTo>
                    <a:pt x="37948" y="56970"/>
                  </a:lnTo>
                  <a:lnTo>
                    <a:pt x="38344" y="57168"/>
                  </a:lnTo>
                  <a:lnTo>
                    <a:pt x="38740" y="57168"/>
                  </a:lnTo>
                  <a:lnTo>
                    <a:pt x="39137" y="57267"/>
                  </a:lnTo>
                  <a:lnTo>
                    <a:pt x="39236" y="57366"/>
                  </a:lnTo>
                  <a:lnTo>
                    <a:pt x="39236" y="57565"/>
                  </a:lnTo>
                  <a:lnTo>
                    <a:pt x="39137" y="57862"/>
                  </a:lnTo>
                  <a:lnTo>
                    <a:pt x="39137" y="58258"/>
                  </a:lnTo>
                  <a:lnTo>
                    <a:pt x="39038" y="59150"/>
                  </a:lnTo>
                  <a:lnTo>
                    <a:pt x="39038" y="59942"/>
                  </a:lnTo>
                  <a:lnTo>
                    <a:pt x="39137" y="60834"/>
                  </a:lnTo>
                  <a:lnTo>
                    <a:pt x="39038" y="61726"/>
                  </a:lnTo>
                  <a:lnTo>
                    <a:pt x="39038" y="62915"/>
                  </a:lnTo>
                  <a:lnTo>
                    <a:pt x="38939" y="63608"/>
                  </a:lnTo>
                  <a:lnTo>
                    <a:pt x="38839" y="64203"/>
                  </a:lnTo>
                  <a:lnTo>
                    <a:pt x="38839" y="64500"/>
                  </a:lnTo>
                  <a:lnTo>
                    <a:pt x="38839" y="64896"/>
                  </a:lnTo>
                  <a:lnTo>
                    <a:pt x="38939" y="65689"/>
                  </a:lnTo>
                  <a:lnTo>
                    <a:pt x="38839" y="66581"/>
                  </a:lnTo>
                  <a:lnTo>
                    <a:pt x="38740" y="67373"/>
                  </a:lnTo>
                  <a:lnTo>
                    <a:pt x="38740" y="68265"/>
                  </a:lnTo>
                  <a:lnTo>
                    <a:pt x="38740" y="68661"/>
                  </a:lnTo>
                  <a:lnTo>
                    <a:pt x="38641" y="69058"/>
                  </a:lnTo>
                  <a:lnTo>
                    <a:pt x="38641" y="69454"/>
                  </a:lnTo>
                  <a:lnTo>
                    <a:pt x="38740" y="69850"/>
                  </a:lnTo>
                  <a:lnTo>
                    <a:pt x="38839" y="70247"/>
                  </a:lnTo>
                  <a:lnTo>
                    <a:pt x="38740" y="70445"/>
                  </a:lnTo>
                  <a:lnTo>
                    <a:pt x="38740" y="70643"/>
                  </a:lnTo>
                  <a:lnTo>
                    <a:pt x="38542" y="71039"/>
                  </a:lnTo>
                  <a:lnTo>
                    <a:pt x="38641" y="71436"/>
                  </a:lnTo>
                  <a:lnTo>
                    <a:pt x="38641" y="71634"/>
                  </a:lnTo>
                  <a:lnTo>
                    <a:pt x="38641" y="71733"/>
                  </a:lnTo>
                  <a:lnTo>
                    <a:pt x="38443" y="72030"/>
                  </a:lnTo>
                  <a:lnTo>
                    <a:pt x="38344" y="72228"/>
                  </a:lnTo>
                  <a:lnTo>
                    <a:pt x="38443" y="72426"/>
                  </a:lnTo>
                  <a:lnTo>
                    <a:pt x="38344" y="72922"/>
                  </a:lnTo>
                  <a:lnTo>
                    <a:pt x="38047" y="73516"/>
                  </a:lnTo>
                  <a:lnTo>
                    <a:pt x="37750" y="74111"/>
                  </a:lnTo>
                  <a:lnTo>
                    <a:pt x="37551" y="74210"/>
                  </a:lnTo>
                  <a:lnTo>
                    <a:pt x="37353" y="74408"/>
                  </a:lnTo>
                  <a:lnTo>
                    <a:pt x="36957" y="74507"/>
                  </a:lnTo>
                  <a:lnTo>
                    <a:pt x="36759" y="74705"/>
                  </a:lnTo>
                  <a:lnTo>
                    <a:pt x="36263" y="75101"/>
                  </a:lnTo>
                  <a:lnTo>
                    <a:pt x="35669" y="75498"/>
                  </a:lnTo>
                  <a:lnTo>
                    <a:pt x="35074" y="75795"/>
                  </a:lnTo>
                  <a:lnTo>
                    <a:pt x="33886" y="76290"/>
                  </a:lnTo>
                  <a:lnTo>
                    <a:pt x="32994" y="76687"/>
                  </a:lnTo>
                  <a:lnTo>
                    <a:pt x="32201" y="77083"/>
                  </a:lnTo>
                  <a:lnTo>
                    <a:pt x="30616" y="77975"/>
                  </a:lnTo>
                  <a:lnTo>
                    <a:pt x="29031" y="78767"/>
                  </a:lnTo>
                  <a:lnTo>
                    <a:pt x="27941" y="79263"/>
                  </a:lnTo>
                  <a:lnTo>
                    <a:pt x="27445" y="79560"/>
                  </a:lnTo>
                  <a:lnTo>
                    <a:pt x="26950" y="79956"/>
                  </a:lnTo>
                  <a:lnTo>
                    <a:pt x="26752" y="80154"/>
                  </a:lnTo>
                  <a:lnTo>
                    <a:pt x="26653" y="80452"/>
                  </a:lnTo>
                  <a:lnTo>
                    <a:pt x="26455" y="81244"/>
                  </a:lnTo>
                  <a:lnTo>
                    <a:pt x="26455" y="81641"/>
                  </a:lnTo>
                  <a:lnTo>
                    <a:pt x="26455" y="82136"/>
                  </a:lnTo>
                  <a:lnTo>
                    <a:pt x="26455" y="82235"/>
                  </a:lnTo>
                  <a:lnTo>
                    <a:pt x="26356" y="82334"/>
                  </a:lnTo>
                  <a:lnTo>
                    <a:pt x="25860" y="82334"/>
                  </a:lnTo>
                  <a:lnTo>
                    <a:pt x="25365" y="82532"/>
                  </a:lnTo>
                  <a:lnTo>
                    <a:pt x="24473" y="82929"/>
                  </a:lnTo>
                  <a:lnTo>
                    <a:pt x="23879" y="83127"/>
                  </a:lnTo>
                  <a:lnTo>
                    <a:pt x="23284" y="83523"/>
                  </a:lnTo>
                  <a:lnTo>
                    <a:pt x="22888" y="84018"/>
                  </a:lnTo>
                  <a:lnTo>
                    <a:pt x="22789" y="84316"/>
                  </a:lnTo>
                  <a:lnTo>
                    <a:pt x="22690" y="84613"/>
                  </a:lnTo>
                  <a:lnTo>
                    <a:pt x="22492" y="86297"/>
                  </a:lnTo>
                  <a:lnTo>
                    <a:pt x="22393" y="87090"/>
                  </a:lnTo>
                  <a:lnTo>
                    <a:pt x="22393" y="87982"/>
                  </a:lnTo>
                  <a:lnTo>
                    <a:pt x="22393" y="88180"/>
                  </a:lnTo>
                  <a:lnTo>
                    <a:pt x="22492" y="88378"/>
                  </a:lnTo>
                  <a:lnTo>
                    <a:pt x="22690" y="88477"/>
                  </a:lnTo>
                  <a:lnTo>
                    <a:pt x="23086" y="88477"/>
                  </a:lnTo>
                  <a:lnTo>
                    <a:pt x="23185" y="88378"/>
                  </a:lnTo>
                  <a:lnTo>
                    <a:pt x="23284" y="88180"/>
                  </a:lnTo>
                  <a:lnTo>
                    <a:pt x="23185" y="87982"/>
                  </a:lnTo>
                  <a:lnTo>
                    <a:pt x="23185" y="87684"/>
                  </a:lnTo>
                  <a:lnTo>
                    <a:pt x="23482" y="85108"/>
                  </a:lnTo>
                  <a:lnTo>
                    <a:pt x="23581" y="84613"/>
                  </a:lnTo>
                  <a:lnTo>
                    <a:pt x="23681" y="84217"/>
                  </a:lnTo>
                  <a:lnTo>
                    <a:pt x="23978" y="83919"/>
                  </a:lnTo>
                  <a:lnTo>
                    <a:pt x="24374" y="83721"/>
                  </a:lnTo>
                  <a:lnTo>
                    <a:pt x="26356" y="83226"/>
                  </a:lnTo>
                  <a:lnTo>
                    <a:pt x="27545" y="82929"/>
                  </a:lnTo>
                  <a:lnTo>
                    <a:pt x="28833" y="82730"/>
                  </a:lnTo>
                  <a:lnTo>
                    <a:pt x="31310" y="82334"/>
                  </a:lnTo>
                  <a:lnTo>
                    <a:pt x="33985" y="82037"/>
                  </a:lnTo>
                  <a:lnTo>
                    <a:pt x="36759" y="81839"/>
                  </a:lnTo>
                  <a:lnTo>
                    <a:pt x="37651" y="81740"/>
                  </a:lnTo>
                  <a:lnTo>
                    <a:pt x="38542" y="81740"/>
                  </a:lnTo>
                  <a:lnTo>
                    <a:pt x="39533" y="81641"/>
                  </a:lnTo>
                  <a:lnTo>
                    <a:pt x="40524" y="81740"/>
                  </a:lnTo>
                  <a:lnTo>
                    <a:pt x="41713" y="81740"/>
                  </a:lnTo>
                  <a:lnTo>
                    <a:pt x="42902" y="81839"/>
                  </a:lnTo>
                  <a:lnTo>
                    <a:pt x="44982" y="81839"/>
                  </a:lnTo>
                  <a:lnTo>
                    <a:pt x="47162" y="82037"/>
                  </a:lnTo>
                  <a:lnTo>
                    <a:pt x="47955" y="82037"/>
                  </a:lnTo>
                  <a:lnTo>
                    <a:pt x="48648" y="82136"/>
                  </a:lnTo>
                  <a:lnTo>
                    <a:pt x="49243" y="82136"/>
                  </a:lnTo>
                  <a:lnTo>
                    <a:pt x="49837" y="82235"/>
                  </a:lnTo>
                  <a:lnTo>
                    <a:pt x="50531" y="82334"/>
                  </a:lnTo>
                  <a:lnTo>
                    <a:pt x="51521" y="82433"/>
                  </a:lnTo>
                  <a:lnTo>
                    <a:pt x="52710" y="82532"/>
                  </a:lnTo>
                  <a:lnTo>
                    <a:pt x="53701" y="82730"/>
                  </a:lnTo>
                  <a:lnTo>
                    <a:pt x="54791" y="82829"/>
                  </a:lnTo>
                  <a:lnTo>
                    <a:pt x="55881" y="82929"/>
                  </a:lnTo>
                  <a:lnTo>
                    <a:pt x="57070" y="83127"/>
                  </a:lnTo>
                  <a:lnTo>
                    <a:pt x="58061" y="83325"/>
                  </a:lnTo>
                  <a:lnTo>
                    <a:pt x="59051" y="83523"/>
                  </a:lnTo>
                  <a:lnTo>
                    <a:pt x="61033" y="83919"/>
                  </a:lnTo>
                  <a:lnTo>
                    <a:pt x="61231" y="84018"/>
                  </a:lnTo>
                  <a:lnTo>
                    <a:pt x="61429" y="84117"/>
                  </a:lnTo>
                  <a:lnTo>
                    <a:pt x="61627" y="84316"/>
                  </a:lnTo>
                  <a:lnTo>
                    <a:pt x="61627" y="84514"/>
                  </a:lnTo>
                  <a:lnTo>
                    <a:pt x="61726" y="85406"/>
                  </a:lnTo>
                  <a:lnTo>
                    <a:pt x="61825" y="86297"/>
                  </a:lnTo>
                  <a:lnTo>
                    <a:pt x="61925" y="87189"/>
                  </a:lnTo>
                  <a:lnTo>
                    <a:pt x="62024" y="88081"/>
                  </a:lnTo>
                  <a:lnTo>
                    <a:pt x="62123" y="88279"/>
                  </a:lnTo>
                  <a:lnTo>
                    <a:pt x="62024" y="88378"/>
                  </a:lnTo>
                  <a:lnTo>
                    <a:pt x="61925" y="88378"/>
                  </a:lnTo>
                  <a:lnTo>
                    <a:pt x="61231" y="88279"/>
                  </a:lnTo>
                  <a:lnTo>
                    <a:pt x="60637" y="88180"/>
                  </a:lnTo>
                  <a:lnTo>
                    <a:pt x="60042" y="88081"/>
                  </a:lnTo>
                  <a:lnTo>
                    <a:pt x="59448" y="87982"/>
                  </a:lnTo>
                  <a:lnTo>
                    <a:pt x="58259" y="87882"/>
                  </a:lnTo>
                  <a:lnTo>
                    <a:pt x="56079" y="87684"/>
                  </a:lnTo>
                  <a:lnTo>
                    <a:pt x="54989" y="87486"/>
                  </a:lnTo>
                  <a:lnTo>
                    <a:pt x="53899" y="87387"/>
                  </a:lnTo>
                  <a:lnTo>
                    <a:pt x="52413" y="87288"/>
                  </a:lnTo>
                  <a:lnTo>
                    <a:pt x="50828" y="87189"/>
                  </a:lnTo>
                  <a:lnTo>
                    <a:pt x="48351" y="86991"/>
                  </a:lnTo>
                  <a:lnTo>
                    <a:pt x="45874" y="86892"/>
                  </a:lnTo>
                  <a:lnTo>
                    <a:pt x="41812" y="86892"/>
                  </a:lnTo>
                  <a:lnTo>
                    <a:pt x="40227" y="86991"/>
                  </a:lnTo>
                  <a:lnTo>
                    <a:pt x="38740" y="86991"/>
                  </a:lnTo>
                  <a:lnTo>
                    <a:pt x="35174" y="87288"/>
                  </a:lnTo>
                  <a:lnTo>
                    <a:pt x="34084" y="87387"/>
                  </a:lnTo>
                  <a:lnTo>
                    <a:pt x="33093" y="87486"/>
                  </a:lnTo>
                  <a:lnTo>
                    <a:pt x="32003" y="87585"/>
                  </a:lnTo>
                  <a:lnTo>
                    <a:pt x="31012" y="87684"/>
                  </a:lnTo>
                  <a:lnTo>
                    <a:pt x="30022" y="87783"/>
                  </a:lnTo>
                  <a:lnTo>
                    <a:pt x="29031" y="87982"/>
                  </a:lnTo>
                  <a:lnTo>
                    <a:pt x="27247" y="88081"/>
                  </a:lnTo>
                  <a:lnTo>
                    <a:pt x="26058" y="88180"/>
                  </a:lnTo>
                  <a:lnTo>
                    <a:pt x="24869" y="88279"/>
                  </a:lnTo>
                  <a:lnTo>
                    <a:pt x="24473" y="88279"/>
                  </a:lnTo>
                  <a:lnTo>
                    <a:pt x="24176" y="88378"/>
                  </a:lnTo>
                  <a:lnTo>
                    <a:pt x="23681" y="88576"/>
                  </a:lnTo>
                  <a:lnTo>
                    <a:pt x="23185" y="88675"/>
                  </a:lnTo>
                  <a:lnTo>
                    <a:pt x="22591" y="88675"/>
                  </a:lnTo>
                  <a:lnTo>
                    <a:pt x="22095" y="88774"/>
                  </a:lnTo>
                  <a:lnTo>
                    <a:pt x="21600" y="88873"/>
                  </a:lnTo>
                  <a:lnTo>
                    <a:pt x="21005" y="88972"/>
                  </a:lnTo>
                  <a:lnTo>
                    <a:pt x="20510" y="88972"/>
                  </a:lnTo>
                  <a:lnTo>
                    <a:pt x="19916" y="89071"/>
                  </a:lnTo>
                  <a:lnTo>
                    <a:pt x="18231" y="89567"/>
                  </a:lnTo>
                  <a:lnTo>
                    <a:pt x="16448" y="89963"/>
                  </a:lnTo>
                  <a:lnTo>
                    <a:pt x="16151" y="90062"/>
                  </a:lnTo>
                  <a:lnTo>
                    <a:pt x="15952" y="90161"/>
                  </a:lnTo>
                  <a:lnTo>
                    <a:pt x="15853" y="90359"/>
                  </a:lnTo>
                  <a:lnTo>
                    <a:pt x="15853" y="90657"/>
                  </a:lnTo>
                  <a:lnTo>
                    <a:pt x="15853" y="91548"/>
                  </a:lnTo>
                  <a:lnTo>
                    <a:pt x="15754" y="92341"/>
                  </a:lnTo>
                  <a:lnTo>
                    <a:pt x="15754" y="93134"/>
                  </a:lnTo>
                  <a:lnTo>
                    <a:pt x="15754" y="94025"/>
                  </a:lnTo>
                  <a:lnTo>
                    <a:pt x="15853" y="94521"/>
                  </a:lnTo>
                  <a:lnTo>
                    <a:pt x="15853" y="94818"/>
                  </a:lnTo>
                  <a:lnTo>
                    <a:pt x="15754" y="95115"/>
                  </a:lnTo>
                  <a:lnTo>
                    <a:pt x="15754" y="95214"/>
                  </a:lnTo>
                  <a:lnTo>
                    <a:pt x="15754" y="95412"/>
                  </a:lnTo>
                  <a:lnTo>
                    <a:pt x="15655" y="95511"/>
                  </a:lnTo>
                  <a:lnTo>
                    <a:pt x="15655" y="95710"/>
                  </a:lnTo>
                  <a:lnTo>
                    <a:pt x="15754" y="96007"/>
                  </a:lnTo>
                  <a:lnTo>
                    <a:pt x="15754" y="96403"/>
                  </a:lnTo>
                  <a:lnTo>
                    <a:pt x="15754" y="96998"/>
                  </a:lnTo>
                  <a:lnTo>
                    <a:pt x="15655" y="97394"/>
                  </a:lnTo>
                  <a:lnTo>
                    <a:pt x="15754" y="97790"/>
                  </a:lnTo>
                  <a:lnTo>
                    <a:pt x="15754" y="98187"/>
                  </a:lnTo>
                  <a:lnTo>
                    <a:pt x="15754" y="98385"/>
                  </a:lnTo>
                  <a:lnTo>
                    <a:pt x="15655" y="98583"/>
                  </a:lnTo>
                  <a:lnTo>
                    <a:pt x="15655" y="98682"/>
                  </a:lnTo>
                  <a:lnTo>
                    <a:pt x="15754" y="99177"/>
                  </a:lnTo>
                  <a:lnTo>
                    <a:pt x="15754" y="99574"/>
                  </a:lnTo>
                  <a:lnTo>
                    <a:pt x="15655" y="100267"/>
                  </a:lnTo>
                  <a:lnTo>
                    <a:pt x="15556" y="100564"/>
                  </a:lnTo>
                  <a:lnTo>
                    <a:pt x="15655" y="100763"/>
                  </a:lnTo>
                  <a:lnTo>
                    <a:pt x="15754" y="101159"/>
                  </a:lnTo>
                  <a:lnTo>
                    <a:pt x="15655" y="101555"/>
                  </a:lnTo>
                  <a:lnTo>
                    <a:pt x="15655" y="102249"/>
                  </a:lnTo>
                  <a:lnTo>
                    <a:pt x="15754" y="102942"/>
                  </a:lnTo>
                  <a:lnTo>
                    <a:pt x="15754" y="103339"/>
                  </a:lnTo>
                  <a:lnTo>
                    <a:pt x="15655" y="103636"/>
                  </a:lnTo>
                  <a:lnTo>
                    <a:pt x="15556" y="104131"/>
                  </a:lnTo>
                  <a:lnTo>
                    <a:pt x="15655" y="104528"/>
                  </a:lnTo>
                  <a:lnTo>
                    <a:pt x="15655" y="105023"/>
                  </a:lnTo>
                  <a:lnTo>
                    <a:pt x="15556" y="105419"/>
                  </a:lnTo>
                  <a:lnTo>
                    <a:pt x="15556" y="105716"/>
                  </a:lnTo>
                  <a:lnTo>
                    <a:pt x="15556" y="106014"/>
                  </a:lnTo>
                  <a:lnTo>
                    <a:pt x="15655" y="106608"/>
                  </a:lnTo>
                  <a:lnTo>
                    <a:pt x="15655" y="107104"/>
                  </a:lnTo>
                  <a:lnTo>
                    <a:pt x="15655" y="107500"/>
                  </a:lnTo>
                  <a:lnTo>
                    <a:pt x="15556" y="108392"/>
                  </a:lnTo>
                  <a:lnTo>
                    <a:pt x="15556" y="108986"/>
                  </a:lnTo>
                  <a:lnTo>
                    <a:pt x="15655" y="109680"/>
                  </a:lnTo>
                  <a:lnTo>
                    <a:pt x="15655" y="110373"/>
                  </a:lnTo>
                  <a:lnTo>
                    <a:pt x="15556" y="110968"/>
                  </a:lnTo>
                  <a:lnTo>
                    <a:pt x="15556" y="111760"/>
                  </a:lnTo>
                  <a:lnTo>
                    <a:pt x="15556" y="112553"/>
                  </a:lnTo>
                  <a:lnTo>
                    <a:pt x="15655" y="112949"/>
                  </a:lnTo>
                  <a:lnTo>
                    <a:pt x="15655" y="113346"/>
                  </a:lnTo>
                  <a:lnTo>
                    <a:pt x="15655" y="113841"/>
                  </a:lnTo>
                  <a:lnTo>
                    <a:pt x="15754" y="114336"/>
                  </a:lnTo>
                  <a:lnTo>
                    <a:pt x="15952" y="114832"/>
                  </a:lnTo>
                  <a:lnTo>
                    <a:pt x="16250" y="115228"/>
                  </a:lnTo>
                  <a:lnTo>
                    <a:pt x="16745" y="115525"/>
                  </a:lnTo>
                  <a:lnTo>
                    <a:pt x="17141" y="115525"/>
                  </a:lnTo>
                  <a:lnTo>
                    <a:pt x="17637" y="115426"/>
                  </a:lnTo>
                  <a:lnTo>
                    <a:pt x="18132" y="115426"/>
                  </a:lnTo>
                  <a:lnTo>
                    <a:pt x="20807" y="115525"/>
                  </a:lnTo>
                  <a:lnTo>
                    <a:pt x="24275" y="115525"/>
                  </a:lnTo>
                  <a:lnTo>
                    <a:pt x="27842" y="115426"/>
                  </a:lnTo>
                  <a:lnTo>
                    <a:pt x="33985" y="115327"/>
                  </a:lnTo>
                  <a:lnTo>
                    <a:pt x="49936" y="115327"/>
                  </a:lnTo>
                  <a:lnTo>
                    <a:pt x="55484" y="115426"/>
                  </a:lnTo>
                  <a:lnTo>
                    <a:pt x="57169" y="115426"/>
                  </a:lnTo>
                  <a:lnTo>
                    <a:pt x="58754" y="115525"/>
                  </a:lnTo>
                  <a:lnTo>
                    <a:pt x="68563" y="115525"/>
                  </a:lnTo>
                  <a:lnTo>
                    <a:pt x="68761" y="115426"/>
                  </a:lnTo>
                  <a:lnTo>
                    <a:pt x="68860" y="115426"/>
                  </a:lnTo>
                  <a:lnTo>
                    <a:pt x="68860" y="115129"/>
                  </a:lnTo>
                  <a:lnTo>
                    <a:pt x="68959" y="114931"/>
                  </a:lnTo>
                  <a:lnTo>
                    <a:pt x="69058" y="114832"/>
                  </a:lnTo>
                  <a:lnTo>
                    <a:pt x="69454" y="114634"/>
                  </a:lnTo>
                  <a:lnTo>
                    <a:pt x="69653" y="114435"/>
                  </a:lnTo>
                  <a:lnTo>
                    <a:pt x="69653" y="114237"/>
                  </a:lnTo>
                  <a:lnTo>
                    <a:pt x="69653" y="111562"/>
                  </a:lnTo>
                  <a:lnTo>
                    <a:pt x="69752" y="110076"/>
                  </a:lnTo>
                  <a:lnTo>
                    <a:pt x="69752" y="108491"/>
                  </a:lnTo>
                  <a:lnTo>
                    <a:pt x="69653" y="104924"/>
                  </a:lnTo>
                  <a:lnTo>
                    <a:pt x="69653" y="103140"/>
                  </a:lnTo>
                  <a:lnTo>
                    <a:pt x="69653" y="101357"/>
                  </a:lnTo>
                  <a:lnTo>
                    <a:pt x="69653" y="100465"/>
                  </a:lnTo>
                  <a:lnTo>
                    <a:pt x="69653" y="99475"/>
                  </a:lnTo>
                  <a:lnTo>
                    <a:pt x="69554" y="98682"/>
                  </a:lnTo>
                  <a:lnTo>
                    <a:pt x="69653" y="97790"/>
                  </a:lnTo>
                  <a:lnTo>
                    <a:pt x="69653" y="97097"/>
                  </a:lnTo>
                  <a:lnTo>
                    <a:pt x="69653" y="96403"/>
                  </a:lnTo>
                  <a:lnTo>
                    <a:pt x="69554" y="95016"/>
                  </a:lnTo>
                  <a:lnTo>
                    <a:pt x="69554" y="93827"/>
                  </a:lnTo>
                  <a:lnTo>
                    <a:pt x="69554" y="92638"/>
                  </a:lnTo>
                  <a:lnTo>
                    <a:pt x="69454" y="91350"/>
                  </a:lnTo>
                  <a:lnTo>
                    <a:pt x="69355" y="90657"/>
                  </a:lnTo>
                  <a:lnTo>
                    <a:pt x="69355" y="90062"/>
                  </a:lnTo>
                  <a:lnTo>
                    <a:pt x="69355" y="89963"/>
                  </a:lnTo>
                  <a:lnTo>
                    <a:pt x="69256" y="89864"/>
                  </a:lnTo>
                  <a:lnTo>
                    <a:pt x="68365" y="89666"/>
                  </a:lnTo>
                  <a:lnTo>
                    <a:pt x="67473" y="89369"/>
                  </a:lnTo>
                  <a:lnTo>
                    <a:pt x="66482" y="89170"/>
                  </a:lnTo>
                  <a:lnTo>
                    <a:pt x="65491" y="88972"/>
                  </a:lnTo>
                  <a:lnTo>
                    <a:pt x="64501" y="88774"/>
                  </a:lnTo>
                  <a:lnTo>
                    <a:pt x="64005" y="88675"/>
                  </a:lnTo>
                  <a:lnTo>
                    <a:pt x="63510" y="88576"/>
                  </a:lnTo>
                  <a:lnTo>
                    <a:pt x="63213" y="88576"/>
                  </a:lnTo>
                  <a:lnTo>
                    <a:pt x="63014" y="88378"/>
                  </a:lnTo>
                  <a:lnTo>
                    <a:pt x="62816" y="88180"/>
                  </a:lnTo>
                  <a:lnTo>
                    <a:pt x="62816" y="87783"/>
                  </a:lnTo>
                  <a:lnTo>
                    <a:pt x="62816" y="87288"/>
                  </a:lnTo>
                  <a:lnTo>
                    <a:pt x="62816" y="87090"/>
                  </a:lnTo>
                  <a:lnTo>
                    <a:pt x="62816" y="86793"/>
                  </a:lnTo>
                  <a:lnTo>
                    <a:pt x="62618" y="86297"/>
                  </a:lnTo>
                  <a:lnTo>
                    <a:pt x="62618" y="85802"/>
                  </a:lnTo>
                  <a:lnTo>
                    <a:pt x="62420" y="84712"/>
                  </a:lnTo>
                  <a:lnTo>
                    <a:pt x="62222" y="84117"/>
                  </a:lnTo>
                  <a:lnTo>
                    <a:pt x="61925" y="83721"/>
                  </a:lnTo>
                  <a:lnTo>
                    <a:pt x="61627" y="83424"/>
                  </a:lnTo>
                  <a:lnTo>
                    <a:pt x="61132" y="83127"/>
                  </a:lnTo>
                  <a:lnTo>
                    <a:pt x="60438" y="82929"/>
                  </a:lnTo>
                  <a:lnTo>
                    <a:pt x="60141" y="82730"/>
                  </a:lnTo>
                  <a:lnTo>
                    <a:pt x="59844" y="82631"/>
                  </a:lnTo>
                  <a:lnTo>
                    <a:pt x="59249" y="82532"/>
                  </a:lnTo>
                  <a:lnTo>
                    <a:pt x="58952" y="82433"/>
                  </a:lnTo>
                  <a:lnTo>
                    <a:pt x="58655" y="82433"/>
                  </a:lnTo>
                  <a:lnTo>
                    <a:pt x="58853" y="81641"/>
                  </a:lnTo>
                  <a:lnTo>
                    <a:pt x="58853" y="81244"/>
                  </a:lnTo>
                  <a:lnTo>
                    <a:pt x="58754" y="80848"/>
                  </a:lnTo>
                  <a:lnTo>
                    <a:pt x="58655" y="80353"/>
                  </a:lnTo>
                  <a:lnTo>
                    <a:pt x="58556" y="80055"/>
                  </a:lnTo>
                  <a:lnTo>
                    <a:pt x="58358" y="79857"/>
                  </a:lnTo>
                  <a:lnTo>
                    <a:pt x="57862" y="79461"/>
                  </a:lnTo>
                  <a:lnTo>
                    <a:pt x="57367" y="79164"/>
                  </a:lnTo>
                  <a:lnTo>
                    <a:pt x="56773" y="78866"/>
                  </a:lnTo>
                  <a:lnTo>
                    <a:pt x="56178" y="78668"/>
                  </a:lnTo>
                  <a:lnTo>
                    <a:pt x="54989" y="78173"/>
                  </a:lnTo>
                  <a:lnTo>
                    <a:pt x="53998" y="77578"/>
                  </a:lnTo>
                  <a:lnTo>
                    <a:pt x="53305" y="77182"/>
                  </a:lnTo>
                  <a:lnTo>
                    <a:pt x="52611" y="76885"/>
                  </a:lnTo>
                  <a:lnTo>
                    <a:pt x="51323" y="76290"/>
                  </a:lnTo>
                  <a:lnTo>
                    <a:pt x="50134" y="75597"/>
                  </a:lnTo>
                  <a:lnTo>
                    <a:pt x="49639" y="75399"/>
                  </a:lnTo>
                  <a:lnTo>
                    <a:pt x="49243" y="75101"/>
                  </a:lnTo>
                  <a:lnTo>
                    <a:pt x="48747" y="74903"/>
                  </a:lnTo>
                  <a:lnTo>
                    <a:pt x="48351" y="74606"/>
                  </a:lnTo>
                  <a:lnTo>
                    <a:pt x="47657" y="74012"/>
                  </a:lnTo>
                  <a:lnTo>
                    <a:pt x="47360" y="73813"/>
                  </a:lnTo>
                  <a:lnTo>
                    <a:pt x="47162" y="73516"/>
                  </a:lnTo>
                  <a:lnTo>
                    <a:pt x="46964" y="72922"/>
                  </a:lnTo>
                  <a:lnTo>
                    <a:pt x="46865" y="72327"/>
                  </a:lnTo>
                  <a:lnTo>
                    <a:pt x="46766" y="71733"/>
                  </a:lnTo>
                  <a:lnTo>
                    <a:pt x="46667" y="69553"/>
                  </a:lnTo>
                  <a:lnTo>
                    <a:pt x="46468" y="67274"/>
                  </a:lnTo>
                  <a:lnTo>
                    <a:pt x="46369" y="63806"/>
                  </a:lnTo>
                  <a:lnTo>
                    <a:pt x="46270" y="61627"/>
                  </a:lnTo>
                  <a:lnTo>
                    <a:pt x="46171" y="57664"/>
                  </a:lnTo>
                  <a:lnTo>
                    <a:pt x="46171" y="57466"/>
                  </a:lnTo>
                  <a:lnTo>
                    <a:pt x="46171" y="57366"/>
                  </a:lnTo>
                  <a:lnTo>
                    <a:pt x="46369" y="57267"/>
                  </a:lnTo>
                  <a:lnTo>
                    <a:pt x="46568" y="57168"/>
                  </a:lnTo>
                  <a:lnTo>
                    <a:pt x="47360" y="56871"/>
                  </a:lnTo>
                  <a:lnTo>
                    <a:pt x="47657" y="56673"/>
                  </a:lnTo>
                  <a:lnTo>
                    <a:pt x="47756" y="56475"/>
                  </a:lnTo>
                  <a:lnTo>
                    <a:pt x="47856" y="56277"/>
                  </a:lnTo>
                  <a:lnTo>
                    <a:pt x="48351" y="54493"/>
                  </a:lnTo>
                  <a:lnTo>
                    <a:pt x="48549" y="53998"/>
                  </a:lnTo>
                  <a:lnTo>
                    <a:pt x="48648" y="53601"/>
                  </a:lnTo>
                  <a:lnTo>
                    <a:pt x="48747" y="53205"/>
                  </a:lnTo>
                  <a:lnTo>
                    <a:pt x="48846" y="52710"/>
                  </a:lnTo>
                  <a:lnTo>
                    <a:pt x="49044" y="52313"/>
                  </a:lnTo>
                  <a:lnTo>
                    <a:pt x="49044" y="51917"/>
                  </a:lnTo>
                  <a:lnTo>
                    <a:pt x="49243" y="51323"/>
                  </a:lnTo>
                  <a:lnTo>
                    <a:pt x="49342" y="50728"/>
                  </a:lnTo>
                  <a:lnTo>
                    <a:pt x="49342" y="50530"/>
                  </a:lnTo>
                  <a:lnTo>
                    <a:pt x="49441" y="50431"/>
                  </a:lnTo>
                  <a:lnTo>
                    <a:pt x="49738" y="50332"/>
                  </a:lnTo>
                  <a:lnTo>
                    <a:pt x="51720" y="49936"/>
                  </a:lnTo>
                  <a:lnTo>
                    <a:pt x="55187" y="49044"/>
                  </a:lnTo>
                  <a:lnTo>
                    <a:pt x="56773" y="48548"/>
                  </a:lnTo>
                  <a:lnTo>
                    <a:pt x="58259" y="47855"/>
                  </a:lnTo>
                  <a:lnTo>
                    <a:pt x="58853" y="47558"/>
                  </a:lnTo>
                  <a:lnTo>
                    <a:pt x="59150" y="47459"/>
                  </a:lnTo>
                  <a:lnTo>
                    <a:pt x="59448" y="47459"/>
                  </a:lnTo>
                  <a:lnTo>
                    <a:pt x="59745" y="47360"/>
                  </a:lnTo>
                  <a:lnTo>
                    <a:pt x="60141" y="47260"/>
                  </a:lnTo>
                  <a:lnTo>
                    <a:pt x="60438" y="47161"/>
                  </a:lnTo>
                  <a:lnTo>
                    <a:pt x="60736" y="47062"/>
                  </a:lnTo>
                  <a:lnTo>
                    <a:pt x="60934" y="46963"/>
                  </a:lnTo>
                  <a:lnTo>
                    <a:pt x="61132" y="46864"/>
                  </a:lnTo>
                  <a:lnTo>
                    <a:pt x="61528" y="46567"/>
                  </a:lnTo>
                  <a:lnTo>
                    <a:pt x="62123" y="46270"/>
                  </a:lnTo>
                  <a:lnTo>
                    <a:pt x="62519" y="45873"/>
                  </a:lnTo>
                  <a:lnTo>
                    <a:pt x="63510" y="45180"/>
                  </a:lnTo>
                  <a:lnTo>
                    <a:pt x="63906" y="44684"/>
                  </a:lnTo>
                  <a:lnTo>
                    <a:pt x="64104" y="44486"/>
                  </a:lnTo>
                  <a:lnTo>
                    <a:pt x="64302" y="44288"/>
                  </a:lnTo>
                  <a:lnTo>
                    <a:pt x="64897" y="43892"/>
                  </a:lnTo>
                  <a:lnTo>
                    <a:pt x="65293" y="43396"/>
                  </a:lnTo>
                  <a:lnTo>
                    <a:pt x="65690" y="42901"/>
                  </a:lnTo>
                  <a:lnTo>
                    <a:pt x="66086" y="42307"/>
                  </a:lnTo>
                  <a:lnTo>
                    <a:pt x="66383" y="41712"/>
                  </a:lnTo>
                  <a:lnTo>
                    <a:pt x="66581" y="41019"/>
                  </a:lnTo>
                  <a:lnTo>
                    <a:pt x="66978" y="39731"/>
                  </a:lnTo>
                  <a:lnTo>
                    <a:pt x="67077" y="39037"/>
                  </a:lnTo>
                  <a:lnTo>
                    <a:pt x="67077" y="38343"/>
                  </a:lnTo>
                  <a:lnTo>
                    <a:pt x="67176" y="37749"/>
                  </a:lnTo>
                  <a:lnTo>
                    <a:pt x="67275" y="37055"/>
                  </a:lnTo>
                  <a:lnTo>
                    <a:pt x="67374" y="36659"/>
                  </a:lnTo>
                  <a:lnTo>
                    <a:pt x="67572" y="36461"/>
                  </a:lnTo>
                  <a:lnTo>
                    <a:pt x="68067" y="35966"/>
                  </a:lnTo>
                  <a:lnTo>
                    <a:pt x="69752" y="34777"/>
                  </a:lnTo>
                  <a:lnTo>
                    <a:pt x="70346" y="34281"/>
                  </a:lnTo>
                  <a:lnTo>
                    <a:pt x="70643" y="33984"/>
                  </a:lnTo>
                  <a:lnTo>
                    <a:pt x="70941" y="33786"/>
                  </a:lnTo>
                  <a:lnTo>
                    <a:pt x="71337" y="33588"/>
                  </a:lnTo>
                  <a:lnTo>
                    <a:pt x="71634" y="33290"/>
                  </a:lnTo>
                  <a:lnTo>
                    <a:pt x="71832" y="32993"/>
                  </a:lnTo>
                  <a:lnTo>
                    <a:pt x="72229" y="32795"/>
                  </a:lnTo>
                  <a:lnTo>
                    <a:pt x="72427" y="32597"/>
                  </a:lnTo>
                  <a:lnTo>
                    <a:pt x="72625" y="32498"/>
                  </a:lnTo>
                  <a:lnTo>
                    <a:pt x="72922" y="32102"/>
                  </a:lnTo>
                  <a:lnTo>
                    <a:pt x="74309" y="30714"/>
                  </a:lnTo>
                  <a:lnTo>
                    <a:pt x="74805" y="30120"/>
                  </a:lnTo>
                  <a:lnTo>
                    <a:pt x="75300" y="29625"/>
                  </a:lnTo>
                  <a:lnTo>
                    <a:pt x="75795" y="29129"/>
                  </a:lnTo>
                  <a:lnTo>
                    <a:pt x="76192" y="28634"/>
                  </a:lnTo>
                  <a:lnTo>
                    <a:pt x="76588" y="28138"/>
                  </a:lnTo>
                  <a:lnTo>
                    <a:pt x="76984" y="27643"/>
                  </a:lnTo>
                  <a:lnTo>
                    <a:pt x="77480" y="27148"/>
                  </a:lnTo>
                  <a:lnTo>
                    <a:pt x="77876" y="26553"/>
                  </a:lnTo>
                  <a:lnTo>
                    <a:pt x="78669" y="25463"/>
                  </a:lnTo>
                  <a:lnTo>
                    <a:pt x="79263" y="24373"/>
                  </a:lnTo>
                  <a:lnTo>
                    <a:pt x="79858" y="23383"/>
                  </a:lnTo>
                  <a:lnTo>
                    <a:pt x="80650" y="21896"/>
                  </a:lnTo>
                  <a:lnTo>
                    <a:pt x="81443" y="20311"/>
                  </a:lnTo>
                  <a:lnTo>
                    <a:pt x="81938" y="19320"/>
                  </a:lnTo>
                  <a:lnTo>
                    <a:pt x="82335" y="18330"/>
                  </a:lnTo>
                  <a:lnTo>
                    <a:pt x="83127" y="16348"/>
                  </a:lnTo>
                  <a:lnTo>
                    <a:pt x="83424" y="15357"/>
                  </a:lnTo>
                  <a:lnTo>
                    <a:pt x="83623" y="14862"/>
                  </a:lnTo>
                  <a:lnTo>
                    <a:pt x="83821" y="14367"/>
                  </a:lnTo>
                  <a:lnTo>
                    <a:pt x="84217" y="13277"/>
                  </a:lnTo>
                  <a:lnTo>
                    <a:pt x="84514" y="12088"/>
                  </a:lnTo>
                  <a:lnTo>
                    <a:pt x="85010" y="9908"/>
                  </a:lnTo>
                  <a:lnTo>
                    <a:pt x="85208" y="7530"/>
                  </a:lnTo>
                  <a:lnTo>
                    <a:pt x="85307" y="6143"/>
                  </a:lnTo>
                  <a:lnTo>
                    <a:pt x="85307" y="4756"/>
                  </a:lnTo>
                  <a:lnTo>
                    <a:pt x="85208" y="3171"/>
                  </a:lnTo>
                  <a:lnTo>
                    <a:pt x="84812" y="1486"/>
                  </a:lnTo>
                  <a:lnTo>
                    <a:pt x="84613" y="793"/>
                  </a:lnTo>
                  <a:lnTo>
                    <a:pt x="84415" y="595"/>
                  </a:lnTo>
                  <a:lnTo>
                    <a:pt x="84118" y="397"/>
                  </a:lnTo>
                  <a:lnTo>
                    <a:pt x="83920" y="198"/>
                  </a:lnTo>
                  <a:lnTo>
                    <a:pt x="83623" y="99"/>
                  </a:lnTo>
                  <a:lnTo>
                    <a:pt x="82929" y="99"/>
                  </a:lnTo>
                  <a:lnTo>
                    <a:pt x="82136" y="198"/>
                  </a:lnTo>
                  <a:lnTo>
                    <a:pt x="80650" y="198"/>
                  </a:lnTo>
                  <a:lnTo>
                    <a:pt x="78669" y="397"/>
                  </a:lnTo>
                  <a:lnTo>
                    <a:pt x="76687" y="496"/>
                  </a:lnTo>
                  <a:lnTo>
                    <a:pt x="74805" y="793"/>
                  </a:lnTo>
                  <a:lnTo>
                    <a:pt x="73021" y="1090"/>
                  </a:lnTo>
                  <a:lnTo>
                    <a:pt x="71436" y="1387"/>
                  </a:lnTo>
                  <a:lnTo>
                    <a:pt x="69851" y="1586"/>
                  </a:lnTo>
                  <a:lnTo>
                    <a:pt x="69355" y="1784"/>
                  </a:lnTo>
                  <a:lnTo>
                    <a:pt x="68761" y="1883"/>
                  </a:lnTo>
                  <a:lnTo>
                    <a:pt x="68266" y="1883"/>
                  </a:lnTo>
                  <a:lnTo>
                    <a:pt x="67869" y="2081"/>
                  </a:lnTo>
                  <a:lnTo>
                    <a:pt x="67671" y="2279"/>
                  </a:lnTo>
                  <a:lnTo>
                    <a:pt x="67572" y="2675"/>
                  </a:lnTo>
                  <a:lnTo>
                    <a:pt x="67572" y="3171"/>
                  </a:lnTo>
                  <a:lnTo>
                    <a:pt x="67572" y="3567"/>
                  </a:lnTo>
                  <a:lnTo>
                    <a:pt x="67572" y="4360"/>
                  </a:lnTo>
                  <a:lnTo>
                    <a:pt x="67473" y="5152"/>
                  </a:lnTo>
                  <a:lnTo>
                    <a:pt x="67077" y="6539"/>
                  </a:lnTo>
                  <a:lnTo>
                    <a:pt x="66978" y="7233"/>
                  </a:lnTo>
                  <a:lnTo>
                    <a:pt x="66680" y="7827"/>
                  </a:lnTo>
                  <a:lnTo>
                    <a:pt x="66284" y="8422"/>
                  </a:lnTo>
                  <a:lnTo>
                    <a:pt x="65888" y="9016"/>
                  </a:lnTo>
                  <a:lnTo>
                    <a:pt x="65392" y="9512"/>
                  </a:lnTo>
                  <a:lnTo>
                    <a:pt x="64798" y="9809"/>
                  </a:lnTo>
                  <a:lnTo>
                    <a:pt x="64699" y="9809"/>
                  </a:lnTo>
                  <a:lnTo>
                    <a:pt x="64600" y="9512"/>
                  </a:lnTo>
                  <a:lnTo>
                    <a:pt x="64600" y="9215"/>
                  </a:lnTo>
                  <a:lnTo>
                    <a:pt x="64501" y="9016"/>
                  </a:lnTo>
                  <a:lnTo>
                    <a:pt x="64501" y="8917"/>
                  </a:lnTo>
                  <a:lnTo>
                    <a:pt x="64104" y="7926"/>
                  </a:lnTo>
                  <a:lnTo>
                    <a:pt x="63906" y="6936"/>
                  </a:lnTo>
                  <a:lnTo>
                    <a:pt x="63510" y="5648"/>
                  </a:lnTo>
                  <a:lnTo>
                    <a:pt x="63213" y="4459"/>
                  </a:lnTo>
                  <a:lnTo>
                    <a:pt x="63113" y="4261"/>
                  </a:lnTo>
                  <a:lnTo>
                    <a:pt x="62915" y="4162"/>
                  </a:lnTo>
                  <a:lnTo>
                    <a:pt x="62816" y="4162"/>
                  </a:lnTo>
                  <a:lnTo>
                    <a:pt x="62717" y="4261"/>
                  </a:lnTo>
                  <a:lnTo>
                    <a:pt x="62618" y="4360"/>
                  </a:lnTo>
                  <a:lnTo>
                    <a:pt x="62519" y="4360"/>
                  </a:lnTo>
                  <a:lnTo>
                    <a:pt x="62321" y="4261"/>
                  </a:lnTo>
                  <a:lnTo>
                    <a:pt x="61726" y="3963"/>
                  </a:lnTo>
                  <a:lnTo>
                    <a:pt x="61132" y="3864"/>
                  </a:lnTo>
                  <a:lnTo>
                    <a:pt x="59844" y="3567"/>
                  </a:lnTo>
                  <a:lnTo>
                    <a:pt x="59249" y="3567"/>
                  </a:lnTo>
                  <a:lnTo>
                    <a:pt x="58952" y="3468"/>
                  </a:lnTo>
                  <a:lnTo>
                    <a:pt x="58655" y="3369"/>
                  </a:lnTo>
                  <a:lnTo>
                    <a:pt x="58061" y="3171"/>
                  </a:lnTo>
                  <a:lnTo>
                    <a:pt x="56971" y="3171"/>
                  </a:lnTo>
                  <a:lnTo>
                    <a:pt x="56376" y="3072"/>
                  </a:lnTo>
                  <a:lnTo>
                    <a:pt x="55187" y="2874"/>
                  </a:lnTo>
                  <a:lnTo>
                    <a:pt x="53998" y="2774"/>
                  </a:lnTo>
                  <a:lnTo>
                    <a:pt x="52809" y="2675"/>
                  </a:lnTo>
                  <a:lnTo>
                    <a:pt x="50927" y="2576"/>
                  </a:lnTo>
                  <a:lnTo>
                    <a:pt x="49540" y="2477"/>
                  </a:lnTo>
                  <a:lnTo>
                    <a:pt x="48153" y="2477"/>
                  </a:lnTo>
                  <a:lnTo>
                    <a:pt x="44982" y="2378"/>
                  </a:lnTo>
                  <a:lnTo>
                    <a:pt x="40326" y="2279"/>
                  </a:lnTo>
                  <a:lnTo>
                    <a:pt x="37750" y="2279"/>
                  </a:lnTo>
                  <a:lnTo>
                    <a:pt x="35074" y="2378"/>
                  </a:lnTo>
                  <a:lnTo>
                    <a:pt x="33489" y="2477"/>
                  </a:lnTo>
                  <a:lnTo>
                    <a:pt x="31904" y="2576"/>
                  </a:lnTo>
                  <a:lnTo>
                    <a:pt x="31111" y="2576"/>
                  </a:lnTo>
                  <a:lnTo>
                    <a:pt x="30220" y="2675"/>
                  </a:lnTo>
                  <a:lnTo>
                    <a:pt x="28535" y="2874"/>
                  </a:lnTo>
                  <a:lnTo>
                    <a:pt x="27148" y="2973"/>
                  </a:lnTo>
                  <a:lnTo>
                    <a:pt x="25860" y="3270"/>
                  </a:lnTo>
                  <a:lnTo>
                    <a:pt x="25167" y="3270"/>
                  </a:lnTo>
                  <a:lnTo>
                    <a:pt x="24869" y="3369"/>
                  </a:lnTo>
                  <a:lnTo>
                    <a:pt x="24473" y="3468"/>
                  </a:lnTo>
                  <a:lnTo>
                    <a:pt x="24077" y="3567"/>
                  </a:lnTo>
                  <a:lnTo>
                    <a:pt x="23681" y="3666"/>
                  </a:lnTo>
                  <a:lnTo>
                    <a:pt x="23284" y="3864"/>
                  </a:lnTo>
                  <a:lnTo>
                    <a:pt x="22987" y="4062"/>
                  </a:lnTo>
                  <a:lnTo>
                    <a:pt x="22789" y="4162"/>
                  </a:lnTo>
                  <a:lnTo>
                    <a:pt x="22591" y="4162"/>
                  </a:lnTo>
                  <a:lnTo>
                    <a:pt x="22293" y="4062"/>
                  </a:lnTo>
                  <a:lnTo>
                    <a:pt x="22095" y="4162"/>
                  </a:lnTo>
                  <a:lnTo>
                    <a:pt x="21996" y="4360"/>
                  </a:lnTo>
                  <a:lnTo>
                    <a:pt x="21897" y="4558"/>
                  </a:lnTo>
                  <a:lnTo>
                    <a:pt x="21600" y="5152"/>
                  </a:lnTo>
                  <a:lnTo>
                    <a:pt x="21402" y="5747"/>
                  </a:lnTo>
                  <a:lnTo>
                    <a:pt x="20807" y="7926"/>
                  </a:lnTo>
                  <a:lnTo>
                    <a:pt x="20312" y="9908"/>
                  </a:lnTo>
                  <a:lnTo>
                    <a:pt x="20015" y="9413"/>
                  </a:lnTo>
                  <a:lnTo>
                    <a:pt x="19618" y="9016"/>
                  </a:lnTo>
                  <a:lnTo>
                    <a:pt x="19222" y="8620"/>
                  </a:lnTo>
                  <a:lnTo>
                    <a:pt x="18925" y="8125"/>
                  </a:lnTo>
                  <a:lnTo>
                    <a:pt x="18528" y="7233"/>
                  </a:lnTo>
                  <a:lnTo>
                    <a:pt x="18330" y="6440"/>
                  </a:lnTo>
                  <a:lnTo>
                    <a:pt x="18132" y="5549"/>
                  </a:lnTo>
                  <a:lnTo>
                    <a:pt x="17934" y="4558"/>
                  </a:lnTo>
                  <a:lnTo>
                    <a:pt x="17835" y="2675"/>
                  </a:lnTo>
                  <a:lnTo>
                    <a:pt x="17736" y="2378"/>
                  </a:lnTo>
                  <a:lnTo>
                    <a:pt x="17637" y="2180"/>
                  </a:lnTo>
                  <a:lnTo>
                    <a:pt x="17439" y="2081"/>
                  </a:lnTo>
                  <a:lnTo>
                    <a:pt x="17141" y="2180"/>
                  </a:lnTo>
                  <a:lnTo>
                    <a:pt x="16844" y="2279"/>
                  </a:lnTo>
                  <a:lnTo>
                    <a:pt x="16646" y="2180"/>
                  </a:lnTo>
                  <a:lnTo>
                    <a:pt x="16547" y="2081"/>
                  </a:lnTo>
                  <a:lnTo>
                    <a:pt x="16547" y="1883"/>
                  </a:lnTo>
                  <a:lnTo>
                    <a:pt x="16448" y="1883"/>
                  </a:lnTo>
                  <a:lnTo>
                    <a:pt x="16151" y="1982"/>
                  </a:lnTo>
                  <a:lnTo>
                    <a:pt x="15952" y="1982"/>
                  </a:lnTo>
                  <a:lnTo>
                    <a:pt x="15754" y="1883"/>
                  </a:lnTo>
                  <a:lnTo>
                    <a:pt x="15556" y="1784"/>
                  </a:lnTo>
                  <a:lnTo>
                    <a:pt x="15358" y="1685"/>
                  </a:lnTo>
                  <a:lnTo>
                    <a:pt x="14664" y="1685"/>
                  </a:lnTo>
                  <a:lnTo>
                    <a:pt x="14268" y="1486"/>
                  </a:lnTo>
                  <a:lnTo>
                    <a:pt x="13971" y="1387"/>
                  </a:lnTo>
                  <a:lnTo>
                    <a:pt x="13575" y="1387"/>
                  </a:lnTo>
                  <a:lnTo>
                    <a:pt x="13376" y="1288"/>
                  </a:lnTo>
                  <a:lnTo>
                    <a:pt x="13277" y="1189"/>
                  </a:lnTo>
                  <a:lnTo>
                    <a:pt x="13079" y="1189"/>
                  </a:lnTo>
                  <a:lnTo>
                    <a:pt x="12881" y="1387"/>
                  </a:lnTo>
                  <a:lnTo>
                    <a:pt x="12683" y="1387"/>
                  </a:lnTo>
                  <a:lnTo>
                    <a:pt x="12584" y="1288"/>
                  </a:lnTo>
                  <a:lnTo>
                    <a:pt x="12386" y="1090"/>
                  </a:lnTo>
                  <a:lnTo>
                    <a:pt x="12287" y="1090"/>
                  </a:lnTo>
                  <a:lnTo>
                    <a:pt x="12088" y="1189"/>
                  </a:lnTo>
                  <a:lnTo>
                    <a:pt x="11890" y="1189"/>
                  </a:lnTo>
                  <a:lnTo>
                    <a:pt x="11791" y="1090"/>
                  </a:lnTo>
                  <a:lnTo>
                    <a:pt x="11593" y="991"/>
                  </a:lnTo>
                  <a:lnTo>
                    <a:pt x="11395" y="991"/>
                  </a:lnTo>
                  <a:lnTo>
                    <a:pt x="10999" y="1090"/>
                  </a:lnTo>
                  <a:lnTo>
                    <a:pt x="10602" y="991"/>
                  </a:lnTo>
                  <a:lnTo>
                    <a:pt x="10206" y="892"/>
                  </a:lnTo>
                  <a:lnTo>
                    <a:pt x="9810" y="892"/>
                  </a:lnTo>
                  <a:lnTo>
                    <a:pt x="9711" y="793"/>
                  </a:lnTo>
                  <a:lnTo>
                    <a:pt x="9611" y="694"/>
                  </a:lnTo>
                  <a:lnTo>
                    <a:pt x="9017" y="694"/>
                  </a:lnTo>
                  <a:lnTo>
                    <a:pt x="8720" y="595"/>
                  </a:lnTo>
                  <a:lnTo>
                    <a:pt x="8323" y="595"/>
                  </a:lnTo>
                  <a:lnTo>
                    <a:pt x="7828" y="496"/>
                  </a:lnTo>
                  <a:lnTo>
                    <a:pt x="7333" y="496"/>
                  </a:lnTo>
                  <a:lnTo>
                    <a:pt x="6738" y="397"/>
                  </a:lnTo>
                  <a:lnTo>
                    <a:pt x="3667" y="397"/>
                  </a:lnTo>
                  <a:lnTo>
                    <a:pt x="3370" y="496"/>
                  </a:lnTo>
                  <a:lnTo>
                    <a:pt x="3171" y="397"/>
                  </a:lnTo>
                  <a:lnTo>
                    <a:pt x="2478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  <p:sp>
          <p:nvSpPr>
            <p:cNvPr id="10" name="Google Shape;413;p31">
              <a:extLst>
                <a:ext uri="{FF2B5EF4-FFF2-40B4-BE49-F238E27FC236}">
                  <a16:creationId xmlns:a16="http://schemas.microsoft.com/office/drawing/2014/main" id="{F346FFC2-D406-1120-2D14-6BE1FB670FF6}"/>
                </a:ext>
              </a:extLst>
            </p:cNvPr>
            <p:cNvSpPr/>
            <p:nvPr/>
          </p:nvSpPr>
          <p:spPr>
            <a:xfrm>
              <a:off x="3249367" y="1156254"/>
              <a:ext cx="2640465" cy="3575819"/>
            </a:xfrm>
            <a:custGeom>
              <a:avLst/>
              <a:gdLst/>
              <a:ahLst/>
              <a:cxnLst/>
              <a:rect l="l" t="t" r="r" b="b"/>
              <a:pathLst>
                <a:path w="85307" h="115526" extrusionOk="0">
                  <a:moveTo>
                    <a:pt x="6144" y="4756"/>
                  </a:moveTo>
                  <a:lnTo>
                    <a:pt x="7135" y="4954"/>
                  </a:lnTo>
                  <a:lnTo>
                    <a:pt x="8125" y="5152"/>
                  </a:lnTo>
                  <a:lnTo>
                    <a:pt x="9116" y="5251"/>
                  </a:lnTo>
                  <a:lnTo>
                    <a:pt x="10107" y="5350"/>
                  </a:lnTo>
                  <a:lnTo>
                    <a:pt x="11593" y="5648"/>
                  </a:lnTo>
                  <a:lnTo>
                    <a:pt x="12386" y="5747"/>
                  </a:lnTo>
                  <a:lnTo>
                    <a:pt x="13079" y="5648"/>
                  </a:lnTo>
                  <a:lnTo>
                    <a:pt x="13575" y="5747"/>
                  </a:lnTo>
                  <a:lnTo>
                    <a:pt x="14268" y="5747"/>
                  </a:lnTo>
                  <a:lnTo>
                    <a:pt x="14466" y="5846"/>
                  </a:lnTo>
                  <a:lnTo>
                    <a:pt x="14565" y="6044"/>
                  </a:lnTo>
                  <a:lnTo>
                    <a:pt x="14664" y="6341"/>
                  </a:lnTo>
                  <a:lnTo>
                    <a:pt x="14863" y="6936"/>
                  </a:lnTo>
                  <a:lnTo>
                    <a:pt x="15061" y="7629"/>
                  </a:lnTo>
                  <a:lnTo>
                    <a:pt x="15556" y="8818"/>
                  </a:lnTo>
                  <a:lnTo>
                    <a:pt x="16151" y="10007"/>
                  </a:lnTo>
                  <a:lnTo>
                    <a:pt x="16547" y="10503"/>
                  </a:lnTo>
                  <a:lnTo>
                    <a:pt x="16943" y="11097"/>
                  </a:lnTo>
                  <a:lnTo>
                    <a:pt x="17637" y="11791"/>
                  </a:lnTo>
                  <a:lnTo>
                    <a:pt x="18429" y="12484"/>
                  </a:lnTo>
                  <a:lnTo>
                    <a:pt x="18826" y="12880"/>
                  </a:lnTo>
                  <a:lnTo>
                    <a:pt x="19024" y="13079"/>
                  </a:lnTo>
                  <a:lnTo>
                    <a:pt x="19321" y="13178"/>
                  </a:lnTo>
                  <a:lnTo>
                    <a:pt x="19420" y="13376"/>
                  </a:lnTo>
                  <a:lnTo>
                    <a:pt x="19420" y="13475"/>
                  </a:lnTo>
                  <a:lnTo>
                    <a:pt x="19420" y="13673"/>
                  </a:lnTo>
                  <a:lnTo>
                    <a:pt x="19222" y="14168"/>
                  </a:lnTo>
                  <a:lnTo>
                    <a:pt x="19123" y="14664"/>
                  </a:lnTo>
                  <a:lnTo>
                    <a:pt x="19024" y="15754"/>
                  </a:lnTo>
                  <a:lnTo>
                    <a:pt x="18925" y="16447"/>
                  </a:lnTo>
                  <a:lnTo>
                    <a:pt x="18826" y="17042"/>
                  </a:lnTo>
                  <a:lnTo>
                    <a:pt x="18628" y="17636"/>
                  </a:lnTo>
                  <a:lnTo>
                    <a:pt x="18628" y="18330"/>
                  </a:lnTo>
                  <a:lnTo>
                    <a:pt x="18429" y="19320"/>
                  </a:lnTo>
                  <a:lnTo>
                    <a:pt x="18231" y="20212"/>
                  </a:lnTo>
                  <a:lnTo>
                    <a:pt x="18132" y="20807"/>
                  </a:lnTo>
                  <a:lnTo>
                    <a:pt x="18033" y="21500"/>
                  </a:lnTo>
                  <a:lnTo>
                    <a:pt x="17934" y="22689"/>
                  </a:lnTo>
                  <a:lnTo>
                    <a:pt x="17736" y="23779"/>
                  </a:lnTo>
                  <a:lnTo>
                    <a:pt x="17736" y="24770"/>
                  </a:lnTo>
                  <a:lnTo>
                    <a:pt x="17439" y="28931"/>
                  </a:lnTo>
                  <a:lnTo>
                    <a:pt x="17439" y="29724"/>
                  </a:lnTo>
                  <a:lnTo>
                    <a:pt x="17439" y="30516"/>
                  </a:lnTo>
                  <a:lnTo>
                    <a:pt x="17538" y="31408"/>
                  </a:lnTo>
                  <a:lnTo>
                    <a:pt x="17439" y="32300"/>
                  </a:lnTo>
                  <a:lnTo>
                    <a:pt x="17439" y="32498"/>
                  </a:lnTo>
                  <a:lnTo>
                    <a:pt x="17538" y="32597"/>
                  </a:lnTo>
                  <a:lnTo>
                    <a:pt x="17538" y="32795"/>
                  </a:lnTo>
                  <a:lnTo>
                    <a:pt x="17439" y="32894"/>
                  </a:lnTo>
                  <a:lnTo>
                    <a:pt x="17240" y="32894"/>
                  </a:lnTo>
                  <a:lnTo>
                    <a:pt x="17141" y="32696"/>
                  </a:lnTo>
                  <a:lnTo>
                    <a:pt x="16943" y="32399"/>
                  </a:lnTo>
                  <a:lnTo>
                    <a:pt x="15655" y="30814"/>
                  </a:lnTo>
                  <a:lnTo>
                    <a:pt x="15061" y="30021"/>
                  </a:lnTo>
                  <a:lnTo>
                    <a:pt x="14466" y="29228"/>
                  </a:lnTo>
                  <a:lnTo>
                    <a:pt x="13079" y="27049"/>
                  </a:lnTo>
                  <a:lnTo>
                    <a:pt x="11692" y="24968"/>
                  </a:lnTo>
                  <a:lnTo>
                    <a:pt x="9810" y="21698"/>
                  </a:lnTo>
                  <a:lnTo>
                    <a:pt x="9314" y="20608"/>
                  </a:lnTo>
                  <a:lnTo>
                    <a:pt x="8819" y="19519"/>
                  </a:lnTo>
                  <a:lnTo>
                    <a:pt x="7927" y="17339"/>
                  </a:lnTo>
                  <a:lnTo>
                    <a:pt x="7234" y="15357"/>
                  </a:lnTo>
                  <a:lnTo>
                    <a:pt x="6639" y="13277"/>
                  </a:lnTo>
                  <a:lnTo>
                    <a:pt x="6243" y="11592"/>
                  </a:lnTo>
                  <a:lnTo>
                    <a:pt x="5946" y="9809"/>
                  </a:lnTo>
                  <a:lnTo>
                    <a:pt x="5847" y="8620"/>
                  </a:lnTo>
                  <a:lnTo>
                    <a:pt x="5747" y="7332"/>
                  </a:lnTo>
                  <a:lnTo>
                    <a:pt x="5648" y="6738"/>
                  </a:lnTo>
                  <a:lnTo>
                    <a:pt x="5747" y="6143"/>
                  </a:lnTo>
                  <a:lnTo>
                    <a:pt x="5847" y="4855"/>
                  </a:lnTo>
                  <a:lnTo>
                    <a:pt x="5946" y="4756"/>
                  </a:lnTo>
                  <a:close/>
                  <a:moveTo>
                    <a:pt x="78966" y="4954"/>
                  </a:moveTo>
                  <a:lnTo>
                    <a:pt x="79263" y="5053"/>
                  </a:lnTo>
                  <a:lnTo>
                    <a:pt x="79362" y="5053"/>
                  </a:lnTo>
                  <a:lnTo>
                    <a:pt x="79461" y="5251"/>
                  </a:lnTo>
                  <a:lnTo>
                    <a:pt x="79461" y="5549"/>
                  </a:lnTo>
                  <a:lnTo>
                    <a:pt x="79560" y="5846"/>
                  </a:lnTo>
                  <a:lnTo>
                    <a:pt x="79560" y="6242"/>
                  </a:lnTo>
                  <a:lnTo>
                    <a:pt x="79560" y="6936"/>
                  </a:lnTo>
                  <a:lnTo>
                    <a:pt x="79560" y="7233"/>
                  </a:lnTo>
                  <a:lnTo>
                    <a:pt x="79560" y="7431"/>
                  </a:lnTo>
                  <a:lnTo>
                    <a:pt x="79659" y="7530"/>
                  </a:lnTo>
                  <a:lnTo>
                    <a:pt x="79759" y="7629"/>
                  </a:lnTo>
                  <a:lnTo>
                    <a:pt x="79659" y="7728"/>
                  </a:lnTo>
                  <a:lnTo>
                    <a:pt x="79560" y="7827"/>
                  </a:lnTo>
                  <a:lnTo>
                    <a:pt x="79461" y="7926"/>
                  </a:lnTo>
                  <a:lnTo>
                    <a:pt x="79659" y="8026"/>
                  </a:lnTo>
                  <a:lnTo>
                    <a:pt x="79560" y="8125"/>
                  </a:lnTo>
                  <a:lnTo>
                    <a:pt x="79560" y="8224"/>
                  </a:lnTo>
                  <a:lnTo>
                    <a:pt x="79560" y="8422"/>
                  </a:lnTo>
                  <a:lnTo>
                    <a:pt x="79560" y="8620"/>
                  </a:lnTo>
                  <a:lnTo>
                    <a:pt x="79560" y="8719"/>
                  </a:lnTo>
                  <a:lnTo>
                    <a:pt x="79461" y="8818"/>
                  </a:lnTo>
                  <a:lnTo>
                    <a:pt x="79362" y="8917"/>
                  </a:lnTo>
                  <a:lnTo>
                    <a:pt x="79461" y="9016"/>
                  </a:lnTo>
                  <a:lnTo>
                    <a:pt x="79560" y="9115"/>
                  </a:lnTo>
                  <a:lnTo>
                    <a:pt x="79461" y="9314"/>
                  </a:lnTo>
                  <a:lnTo>
                    <a:pt x="79461" y="9413"/>
                  </a:lnTo>
                  <a:lnTo>
                    <a:pt x="79461" y="9710"/>
                  </a:lnTo>
                  <a:lnTo>
                    <a:pt x="79560" y="10007"/>
                  </a:lnTo>
                  <a:lnTo>
                    <a:pt x="79560" y="10106"/>
                  </a:lnTo>
                  <a:lnTo>
                    <a:pt x="79560" y="10304"/>
                  </a:lnTo>
                  <a:lnTo>
                    <a:pt x="79461" y="10602"/>
                  </a:lnTo>
                  <a:lnTo>
                    <a:pt x="79362" y="10800"/>
                  </a:lnTo>
                  <a:lnTo>
                    <a:pt x="79263" y="10998"/>
                  </a:lnTo>
                  <a:lnTo>
                    <a:pt x="79263" y="11097"/>
                  </a:lnTo>
                  <a:lnTo>
                    <a:pt x="79461" y="11295"/>
                  </a:lnTo>
                  <a:lnTo>
                    <a:pt x="79362" y="11592"/>
                  </a:lnTo>
                  <a:lnTo>
                    <a:pt x="79362" y="11691"/>
                  </a:lnTo>
                  <a:lnTo>
                    <a:pt x="79164" y="11791"/>
                  </a:lnTo>
                  <a:lnTo>
                    <a:pt x="79065" y="11890"/>
                  </a:lnTo>
                  <a:lnTo>
                    <a:pt x="78966" y="11989"/>
                  </a:lnTo>
                  <a:lnTo>
                    <a:pt x="78966" y="12286"/>
                  </a:lnTo>
                  <a:lnTo>
                    <a:pt x="78966" y="12385"/>
                  </a:lnTo>
                  <a:lnTo>
                    <a:pt x="79164" y="12385"/>
                  </a:lnTo>
                  <a:lnTo>
                    <a:pt x="79263" y="12484"/>
                  </a:lnTo>
                  <a:lnTo>
                    <a:pt x="78966" y="12682"/>
                  </a:lnTo>
                  <a:lnTo>
                    <a:pt x="78867" y="12880"/>
                  </a:lnTo>
                  <a:lnTo>
                    <a:pt x="78768" y="13178"/>
                  </a:lnTo>
                  <a:lnTo>
                    <a:pt x="78768" y="13574"/>
                  </a:lnTo>
                  <a:lnTo>
                    <a:pt x="78768" y="13673"/>
                  </a:lnTo>
                  <a:lnTo>
                    <a:pt x="78669" y="13871"/>
                  </a:lnTo>
                  <a:lnTo>
                    <a:pt x="78570" y="14069"/>
                  </a:lnTo>
                  <a:lnTo>
                    <a:pt x="78768" y="14267"/>
                  </a:lnTo>
                  <a:lnTo>
                    <a:pt x="78570" y="14367"/>
                  </a:lnTo>
                  <a:lnTo>
                    <a:pt x="78471" y="14565"/>
                  </a:lnTo>
                  <a:lnTo>
                    <a:pt x="78272" y="15456"/>
                  </a:lnTo>
                  <a:lnTo>
                    <a:pt x="78074" y="15952"/>
                  </a:lnTo>
                  <a:lnTo>
                    <a:pt x="77777" y="16249"/>
                  </a:lnTo>
                  <a:lnTo>
                    <a:pt x="77678" y="16348"/>
                  </a:lnTo>
                  <a:lnTo>
                    <a:pt x="77678" y="16447"/>
                  </a:lnTo>
                  <a:lnTo>
                    <a:pt x="77777" y="16844"/>
                  </a:lnTo>
                  <a:lnTo>
                    <a:pt x="77678" y="17240"/>
                  </a:lnTo>
                  <a:lnTo>
                    <a:pt x="77183" y="18032"/>
                  </a:lnTo>
                  <a:lnTo>
                    <a:pt x="76885" y="18627"/>
                  </a:lnTo>
                  <a:lnTo>
                    <a:pt x="76885" y="18924"/>
                  </a:lnTo>
                  <a:lnTo>
                    <a:pt x="76885" y="19320"/>
                  </a:lnTo>
                  <a:lnTo>
                    <a:pt x="76885" y="19420"/>
                  </a:lnTo>
                  <a:lnTo>
                    <a:pt x="76687" y="19320"/>
                  </a:lnTo>
                  <a:lnTo>
                    <a:pt x="76588" y="19420"/>
                  </a:lnTo>
                  <a:lnTo>
                    <a:pt x="76588" y="19717"/>
                  </a:lnTo>
                  <a:lnTo>
                    <a:pt x="76489" y="20014"/>
                  </a:lnTo>
                  <a:lnTo>
                    <a:pt x="76489" y="20113"/>
                  </a:lnTo>
                  <a:lnTo>
                    <a:pt x="76291" y="20113"/>
                  </a:lnTo>
                  <a:lnTo>
                    <a:pt x="76192" y="20608"/>
                  </a:lnTo>
                  <a:lnTo>
                    <a:pt x="76093" y="21005"/>
                  </a:lnTo>
                  <a:lnTo>
                    <a:pt x="75895" y="21302"/>
                  </a:lnTo>
                  <a:lnTo>
                    <a:pt x="75696" y="21599"/>
                  </a:lnTo>
                  <a:lnTo>
                    <a:pt x="75399" y="21896"/>
                  </a:lnTo>
                  <a:lnTo>
                    <a:pt x="75498" y="22095"/>
                  </a:lnTo>
                  <a:lnTo>
                    <a:pt x="75498" y="22194"/>
                  </a:lnTo>
                  <a:lnTo>
                    <a:pt x="75300" y="22491"/>
                  </a:lnTo>
                  <a:lnTo>
                    <a:pt x="75102" y="22689"/>
                  </a:lnTo>
                  <a:lnTo>
                    <a:pt x="75003" y="22986"/>
                  </a:lnTo>
                  <a:lnTo>
                    <a:pt x="74805" y="23383"/>
                  </a:lnTo>
                  <a:lnTo>
                    <a:pt x="74607" y="23779"/>
                  </a:lnTo>
                  <a:lnTo>
                    <a:pt x="74111" y="24473"/>
                  </a:lnTo>
                  <a:lnTo>
                    <a:pt x="73616" y="25166"/>
                  </a:lnTo>
                  <a:lnTo>
                    <a:pt x="72724" y="26652"/>
                  </a:lnTo>
                  <a:lnTo>
                    <a:pt x="71931" y="27841"/>
                  </a:lnTo>
                  <a:lnTo>
                    <a:pt x="71535" y="28436"/>
                  </a:lnTo>
                  <a:lnTo>
                    <a:pt x="71238" y="29030"/>
                  </a:lnTo>
                  <a:lnTo>
                    <a:pt x="71040" y="29228"/>
                  </a:lnTo>
                  <a:lnTo>
                    <a:pt x="70842" y="29426"/>
                  </a:lnTo>
                  <a:lnTo>
                    <a:pt x="70643" y="29724"/>
                  </a:lnTo>
                  <a:lnTo>
                    <a:pt x="70544" y="30021"/>
                  </a:lnTo>
                  <a:lnTo>
                    <a:pt x="70544" y="30120"/>
                  </a:lnTo>
                  <a:lnTo>
                    <a:pt x="70346" y="30120"/>
                  </a:lnTo>
                  <a:lnTo>
                    <a:pt x="70247" y="30219"/>
                  </a:lnTo>
                  <a:lnTo>
                    <a:pt x="70148" y="30219"/>
                  </a:lnTo>
                  <a:lnTo>
                    <a:pt x="69950" y="30714"/>
                  </a:lnTo>
                  <a:lnTo>
                    <a:pt x="69653" y="31111"/>
                  </a:lnTo>
                  <a:lnTo>
                    <a:pt x="69058" y="31804"/>
                  </a:lnTo>
                  <a:lnTo>
                    <a:pt x="68662" y="32399"/>
                  </a:lnTo>
                  <a:lnTo>
                    <a:pt x="68464" y="32696"/>
                  </a:lnTo>
                  <a:lnTo>
                    <a:pt x="68166" y="32993"/>
                  </a:lnTo>
                  <a:lnTo>
                    <a:pt x="68067" y="33092"/>
                  </a:lnTo>
                  <a:lnTo>
                    <a:pt x="67968" y="33290"/>
                  </a:lnTo>
                  <a:lnTo>
                    <a:pt x="67869" y="33489"/>
                  </a:lnTo>
                  <a:lnTo>
                    <a:pt x="67770" y="33588"/>
                  </a:lnTo>
                  <a:lnTo>
                    <a:pt x="67473" y="33588"/>
                  </a:lnTo>
                  <a:lnTo>
                    <a:pt x="67671" y="33290"/>
                  </a:lnTo>
                  <a:lnTo>
                    <a:pt x="67671" y="32993"/>
                  </a:lnTo>
                  <a:lnTo>
                    <a:pt x="67572" y="32399"/>
                  </a:lnTo>
                  <a:lnTo>
                    <a:pt x="67572" y="31210"/>
                  </a:lnTo>
                  <a:lnTo>
                    <a:pt x="67572" y="29922"/>
                  </a:lnTo>
                  <a:lnTo>
                    <a:pt x="67572" y="28237"/>
                  </a:lnTo>
                  <a:lnTo>
                    <a:pt x="67572" y="27445"/>
                  </a:lnTo>
                  <a:lnTo>
                    <a:pt x="67473" y="26553"/>
                  </a:lnTo>
                  <a:lnTo>
                    <a:pt x="67374" y="25959"/>
                  </a:lnTo>
                  <a:lnTo>
                    <a:pt x="67374" y="25661"/>
                  </a:lnTo>
                  <a:lnTo>
                    <a:pt x="67374" y="25265"/>
                  </a:lnTo>
                  <a:lnTo>
                    <a:pt x="67374" y="24968"/>
                  </a:lnTo>
                  <a:lnTo>
                    <a:pt x="67374" y="24572"/>
                  </a:lnTo>
                  <a:lnTo>
                    <a:pt x="67176" y="23779"/>
                  </a:lnTo>
                  <a:lnTo>
                    <a:pt x="66978" y="21896"/>
                  </a:lnTo>
                  <a:lnTo>
                    <a:pt x="66680" y="20014"/>
                  </a:lnTo>
                  <a:lnTo>
                    <a:pt x="66383" y="18330"/>
                  </a:lnTo>
                  <a:lnTo>
                    <a:pt x="66086" y="16645"/>
                  </a:lnTo>
                  <a:lnTo>
                    <a:pt x="65888" y="15258"/>
                  </a:lnTo>
                  <a:lnTo>
                    <a:pt x="65590" y="13871"/>
                  </a:lnTo>
                  <a:lnTo>
                    <a:pt x="65491" y="13673"/>
                  </a:lnTo>
                  <a:lnTo>
                    <a:pt x="65590" y="13475"/>
                  </a:lnTo>
                  <a:lnTo>
                    <a:pt x="65690" y="13178"/>
                  </a:lnTo>
                  <a:lnTo>
                    <a:pt x="65987" y="12979"/>
                  </a:lnTo>
                  <a:lnTo>
                    <a:pt x="66284" y="12979"/>
                  </a:lnTo>
                  <a:lnTo>
                    <a:pt x="66878" y="12682"/>
                  </a:lnTo>
                  <a:lnTo>
                    <a:pt x="67374" y="12187"/>
                  </a:lnTo>
                  <a:lnTo>
                    <a:pt x="68166" y="11295"/>
                  </a:lnTo>
                  <a:lnTo>
                    <a:pt x="68761" y="10602"/>
                  </a:lnTo>
                  <a:lnTo>
                    <a:pt x="69256" y="9809"/>
                  </a:lnTo>
                  <a:lnTo>
                    <a:pt x="69752" y="8917"/>
                  </a:lnTo>
                  <a:lnTo>
                    <a:pt x="70049" y="8026"/>
                  </a:lnTo>
                  <a:lnTo>
                    <a:pt x="70346" y="7134"/>
                  </a:lnTo>
                  <a:lnTo>
                    <a:pt x="70544" y="6341"/>
                  </a:lnTo>
                  <a:lnTo>
                    <a:pt x="70643" y="6143"/>
                  </a:lnTo>
                  <a:lnTo>
                    <a:pt x="70742" y="5945"/>
                  </a:lnTo>
                  <a:lnTo>
                    <a:pt x="70941" y="5846"/>
                  </a:lnTo>
                  <a:lnTo>
                    <a:pt x="72526" y="5846"/>
                  </a:lnTo>
                  <a:lnTo>
                    <a:pt x="73913" y="5648"/>
                  </a:lnTo>
                  <a:lnTo>
                    <a:pt x="75399" y="5549"/>
                  </a:lnTo>
                  <a:lnTo>
                    <a:pt x="76786" y="5251"/>
                  </a:lnTo>
                  <a:lnTo>
                    <a:pt x="77678" y="5152"/>
                  </a:lnTo>
                  <a:lnTo>
                    <a:pt x="78669" y="5053"/>
                  </a:lnTo>
                  <a:lnTo>
                    <a:pt x="78966" y="4954"/>
                  </a:lnTo>
                  <a:close/>
                  <a:moveTo>
                    <a:pt x="1883" y="1288"/>
                  </a:moveTo>
                  <a:lnTo>
                    <a:pt x="2379" y="1387"/>
                  </a:lnTo>
                  <a:lnTo>
                    <a:pt x="5747" y="1387"/>
                  </a:lnTo>
                  <a:lnTo>
                    <a:pt x="7630" y="1586"/>
                  </a:lnTo>
                  <a:lnTo>
                    <a:pt x="9215" y="1685"/>
                  </a:lnTo>
                  <a:lnTo>
                    <a:pt x="10900" y="1883"/>
                  </a:lnTo>
                  <a:lnTo>
                    <a:pt x="11989" y="2081"/>
                  </a:lnTo>
                  <a:lnTo>
                    <a:pt x="12584" y="2180"/>
                  </a:lnTo>
                  <a:lnTo>
                    <a:pt x="13178" y="2279"/>
                  </a:lnTo>
                  <a:lnTo>
                    <a:pt x="13575" y="2279"/>
                  </a:lnTo>
                  <a:lnTo>
                    <a:pt x="13971" y="2378"/>
                  </a:lnTo>
                  <a:lnTo>
                    <a:pt x="14664" y="2576"/>
                  </a:lnTo>
                  <a:lnTo>
                    <a:pt x="16250" y="2774"/>
                  </a:lnTo>
                  <a:lnTo>
                    <a:pt x="16646" y="2874"/>
                  </a:lnTo>
                  <a:lnTo>
                    <a:pt x="16943" y="3072"/>
                  </a:lnTo>
                  <a:lnTo>
                    <a:pt x="17042" y="3369"/>
                  </a:lnTo>
                  <a:lnTo>
                    <a:pt x="17042" y="3864"/>
                  </a:lnTo>
                  <a:lnTo>
                    <a:pt x="17141" y="5053"/>
                  </a:lnTo>
                  <a:lnTo>
                    <a:pt x="17439" y="6143"/>
                  </a:lnTo>
                  <a:lnTo>
                    <a:pt x="17637" y="7134"/>
                  </a:lnTo>
                  <a:lnTo>
                    <a:pt x="17835" y="7629"/>
                  </a:lnTo>
                  <a:lnTo>
                    <a:pt x="18033" y="8125"/>
                  </a:lnTo>
                  <a:lnTo>
                    <a:pt x="18330" y="8719"/>
                  </a:lnTo>
                  <a:lnTo>
                    <a:pt x="18528" y="8917"/>
                  </a:lnTo>
                  <a:lnTo>
                    <a:pt x="18727" y="9215"/>
                  </a:lnTo>
                  <a:lnTo>
                    <a:pt x="20015" y="10602"/>
                  </a:lnTo>
                  <a:lnTo>
                    <a:pt x="20114" y="10701"/>
                  </a:lnTo>
                  <a:lnTo>
                    <a:pt x="20015" y="10800"/>
                  </a:lnTo>
                  <a:lnTo>
                    <a:pt x="19817" y="11592"/>
                  </a:lnTo>
                  <a:lnTo>
                    <a:pt x="19717" y="12088"/>
                  </a:lnTo>
                  <a:lnTo>
                    <a:pt x="19618" y="12385"/>
                  </a:lnTo>
                  <a:lnTo>
                    <a:pt x="19420" y="12286"/>
                  </a:lnTo>
                  <a:lnTo>
                    <a:pt x="19024" y="11989"/>
                  </a:lnTo>
                  <a:lnTo>
                    <a:pt x="18330" y="11394"/>
                  </a:lnTo>
                  <a:lnTo>
                    <a:pt x="17637" y="10800"/>
                  </a:lnTo>
                  <a:lnTo>
                    <a:pt x="17141" y="10106"/>
                  </a:lnTo>
                  <a:lnTo>
                    <a:pt x="16646" y="9413"/>
                  </a:lnTo>
                  <a:lnTo>
                    <a:pt x="15952" y="8125"/>
                  </a:lnTo>
                  <a:lnTo>
                    <a:pt x="15556" y="6738"/>
                  </a:lnTo>
                  <a:lnTo>
                    <a:pt x="15160" y="5450"/>
                  </a:lnTo>
                  <a:lnTo>
                    <a:pt x="14962" y="5152"/>
                  </a:lnTo>
                  <a:lnTo>
                    <a:pt x="14664" y="5053"/>
                  </a:lnTo>
                  <a:lnTo>
                    <a:pt x="14070" y="4954"/>
                  </a:lnTo>
                  <a:lnTo>
                    <a:pt x="11395" y="4657"/>
                  </a:lnTo>
                  <a:lnTo>
                    <a:pt x="8819" y="4360"/>
                  </a:lnTo>
                  <a:lnTo>
                    <a:pt x="7432" y="4162"/>
                  </a:lnTo>
                  <a:lnTo>
                    <a:pt x="5648" y="4162"/>
                  </a:lnTo>
                  <a:lnTo>
                    <a:pt x="5450" y="4360"/>
                  </a:lnTo>
                  <a:lnTo>
                    <a:pt x="5252" y="4657"/>
                  </a:lnTo>
                  <a:lnTo>
                    <a:pt x="5153" y="5053"/>
                  </a:lnTo>
                  <a:lnTo>
                    <a:pt x="5153" y="5945"/>
                  </a:lnTo>
                  <a:lnTo>
                    <a:pt x="5054" y="6341"/>
                  </a:lnTo>
                  <a:lnTo>
                    <a:pt x="4955" y="6837"/>
                  </a:lnTo>
                  <a:lnTo>
                    <a:pt x="4856" y="7035"/>
                  </a:lnTo>
                  <a:lnTo>
                    <a:pt x="4757" y="7431"/>
                  </a:lnTo>
                  <a:lnTo>
                    <a:pt x="4856" y="7728"/>
                  </a:lnTo>
                  <a:lnTo>
                    <a:pt x="5054" y="8026"/>
                  </a:lnTo>
                  <a:lnTo>
                    <a:pt x="4955" y="8521"/>
                  </a:lnTo>
                  <a:lnTo>
                    <a:pt x="4955" y="9016"/>
                  </a:lnTo>
                  <a:lnTo>
                    <a:pt x="5054" y="9611"/>
                  </a:lnTo>
                  <a:lnTo>
                    <a:pt x="5054" y="10106"/>
                  </a:lnTo>
                  <a:lnTo>
                    <a:pt x="4955" y="10602"/>
                  </a:lnTo>
                  <a:lnTo>
                    <a:pt x="5054" y="11097"/>
                  </a:lnTo>
                  <a:lnTo>
                    <a:pt x="5351" y="12187"/>
                  </a:lnTo>
                  <a:lnTo>
                    <a:pt x="5450" y="12880"/>
                  </a:lnTo>
                  <a:lnTo>
                    <a:pt x="5549" y="13178"/>
                  </a:lnTo>
                  <a:lnTo>
                    <a:pt x="5648" y="13475"/>
                  </a:lnTo>
                  <a:lnTo>
                    <a:pt x="5747" y="13970"/>
                  </a:lnTo>
                  <a:lnTo>
                    <a:pt x="5847" y="14466"/>
                  </a:lnTo>
                  <a:lnTo>
                    <a:pt x="5946" y="14961"/>
                  </a:lnTo>
                  <a:lnTo>
                    <a:pt x="6045" y="15258"/>
                  </a:lnTo>
                  <a:lnTo>
                    <a:pt x="6144" y="15456"/>
                  </a:lnTo>
                  <a:lnTo>
                    <a:pt x="6441" y="15754"/>
                  </a:lnTo>
                  <a:lnTo>
                    <a:pt x="6540" y="16051"/>
                  </a:lnTo>
                  <a:lnTo>
                    <a:pt x="6639" y="16744"/>
                  </a:lnTo>
                  <a:lnTo>
                    <a:pt x="6837" y="17141"/>
                  </a:lnTo>
                  <a:lnTo>
                    <a:pt x="7135" y="17636"/>
                  </a:lnTo>
                  <a:lnTo>
                    <a:pt x="7234" y="18032"/>
                  </a:lnTo>
                  <a:lnTo>
                    <a:pt x="7234" y="18627"/>
                  </a:lnTo>
                  <a:lnTo>
                    <a:pt x="7333" y="18726"/>
                  </a:lnTo>
                  <a:lnTo>
                    <a:pt x="7432" y="18825"/>
                  </a:lnTo>
                  <a:lnTo>
                    <a:pt x="7630" y="18924"/>
                  </a:lnTo>
                  <a:lnTo>
                    <a:pt x="7630" y="19023"/>
                  </a:lnTo>
                  <a:lnTo>
                    <a:pt x="7630" y="19420"/>
                  </a:lnTo>
                  <a:lnTo>
                    <a:pt x="7828" y="19717"/>
                  </a:lnTo>
                  <a:lnTo>
                    <a:pt x="7927" y="20014"/>
                  </a:lnTo>
                  <a:lnTo>
                    <a:pt x="8125" y="20212"/>
                  </a:lnTo>
                  <a:lnTo>
                    <a:pt x="8423" y="21005"/>
                  </a:lnTo>
                  <a:lnTo>
                    <a:pt x="8819" y="21797"/>
                  </a:lnTo>
                  <a:lnTo>
                    <a:pt x="9215" y="22590"/>
                  </a:lnTo>
                  <a:lnTo>
                    <a:pt x="9413" y="23383"/>
                  </a:lnTo>
                  <a:lnTo>
                    <a:pt x="9512" y="23581"/>
                  </a:lnTo>
                  <a:lnTo>
                    <a:pt x="9711" y="23779"/>
                  </a:lnTo>
                  <a:lnTo>
                    <a:pt x="10107" y="24274"/>
                  </a:lnTo>
                  <a:lnTo>
                    <a:pt x="10305" y="24572"/>
                  </a:lnTo>
                  <a:lnTo>
                    <a:pt x="10503" y="24869"/>
                  </a:lnTo>
                  <a:lnTo>
                    <a:pt x="10800" y="25463"/>
                  </a:lnTo>
                  <a:lnTo>
                    <a:pt x="11098" y="25860"/>
                  </a:lnTo>
                  <a:lnTo>
                    <a:pt x="11494" y="26256"/>
                  </a:lnTo>
                  <a:lnTo>
                    <a:pt x="11692" y="26751"/>
                  </a:lnTo>
                  <a:lnTo>
                    <a:pt x="11989" y="27148"/>
                  </a:lnTo>
                  <a:lnTo>
                    <a:pt x="12584" y="28039"/>
                  </a:lnTo>
                  <a:lnTo>
                    <a:pt x="13277" y="29030"/>
                  </a:lnTo>
                  <a:lnTo>
                    <a:pt x="13872" y="30021"/>
                  </a:lnTo>
                  <a:lnTo>
                    <a:pt x="14565" y="30913"/>
                  </a:lnTo>
                  <a:lnTo>
                    <a:pt x="14863" y="31507"/>
                  </a:lnTo>
                  <a:lnTo>
                    <a:pt x="15061" y="31804"/>
                  </a:lnTo>
                  <a:lnTo>
                    <a:pt x="15457" y="32002"/>
                  </a:lnTo>
                  <a:lnTo>
                    <a:pt x="15556" y="32102"/>
                  </a:lnTo>
                  <a:lnTo>
                    <a:pt x="15754" y="32300"/>
                  </a:lnTo>
                  <a:lnTo>
                    <a:pt x="15952" y="32795"/>
                  </a:lnTo>
                  <a:lnTo>
                    <a:pt x="16250" y="33191"/>
                  </a:lnTo>
                  <a:lnTo>
                    <a:pt x="16547" y="33489"/>
                  </a:lnTo>
                  <a:lnTo>
                    <a:pt x="17240" y="34182"/>
                  </a:lnTo>
                  <a:lnTo>
                    <a:pt x="17439" y="34479"/>
                  </a:lnTo>
                  <a:lnTo>
                    <a:pt x="17538" y="34876"/>
                  </a:lnTo>
                  <a:lnTo>
                    <a:pt x="17637" y="35173"/>
                  </a:lnTo>
                  <a:lnTo>
                    <a:pt x="17736" y="35569"/>
                  </a:lnTo>
                  <a:lnTo>
                    <a:pt x="15754" y="33885"/>
                  </a:lnTo>
                  <a:lnTo>
                    <a:pt x="14764" y="32993"/>
                  </a:lnTo>
                  <a:lnTo>
                    <a:pt x="13773" y="32102"/>
                  </a:lnTo>
                  <a:lnTo>
                    <a:pt x="12683" y="31111"/>
                  </a:lnTo>
                  <a:lnTo>
                    <a:pt x="11593" y="30120"/>
                  </a:lnTo>
                  <a:lnTo>
                    <a:pt x="10999" y="29426"/>
                  </a:lnTo>
                  <a:lnTo>
                    <a:pt x="10404" y="28733"/>
                  </a:lnTo>
                  <a:lnTo>
                    <a:pt x="9810" y="28138"/>
                  </a:lnTo>
                  <a:lnTo>
                    <a:pt x="9413" y="27643"/>
                  </a:lnTo>
                  <a:lnTo>
                    <a:pt x="8522" y="26454"/>
                  </a:lnTo>
                  <a:lnTo>
                    <a:pt x="7729" y="25364"/>
                  </a:lnTo>
                  <a:lnTo>
                    <a:pt x="6936" y="24175"/>
                  </a:lnTo>
                  <a:lnTo>
                    <a:pt x="6639" y="23680"/>
                  </a:lnTo>
                  <a:lnTo>
                    <a:pt x="6342" y="23085"/>
                  </a:lnTo>
                  <a:lnTo>
                    <a:pt x="5747" y="21996"/>
                  </a:lnTo>
                  <a:lnTo>
                    <a:pt x="5252" y="21104"/>
                  </a:lnTo>
                  <a:lnTo>
                    <a:pt x="4757" y="20113"/>
                  </a:lnTo>
                  <a:lnTo>
                    <a:pt x="3964" y="18528"/>
                  </a:lnTo>
                  <a:lnTo>
                    <a:pt x="3667" y="17735"/>
                  </a:lnTo>
                  <a:lnTo>
                    <a:pt x="3271" y="16844"/>
                  </a:lnTo>
                  <a:lnTo>
                    <a:pt x="2874" y="15655"/>
                  </a:lnTo>
                  <a:lnTo>
                    <a:pt x="2577" y="14367"/>
                  </a:lnTo>
                  <a:lnTo>
                    <a:pt x="2280" y="13277"/>
                  </a:lnTo>
                  <a:lnTo>
                    <a:pt x="1983" y="12187"/>
                  </a:lnTo>
                  <a:lnTo>
                    <a:pt x="1487" y="9809"/>
                  </a:lnTo>
                  <a:lnTo>
                    <a:pt x="1289" y="8719"/>
                  </a:lnTo>
                  <a:lnTo>
                    <a:pt x="1190" y="7530"/>
                  </a:lnTo>
                  <a:lnTo>
                    <a:pt x="1091" y="6539"/>
                  </a:lnTo>
                  <a:lnTo>
                    <a:pt x="992" y="5648"/>
                  </a:lnTo>
                  <a:lnTo>
                    <a:pt x="893" y="4756"/>
                  </a:lnTo>
                  <a:lnTo>
                    <a:pt x="992" y="3864"/>
                  </a:lnTo>
                  <a:lnTo>
                    <a:pt x="1190" y="2675"/>
                  </a:lnTo>
                  <a:lnTo>
                    <a:pt x="1289" y="2081"/>
                  </a:lnTo>
                  <a:lnTo>
                    <a:pt x="1487" y="1586"/>
                  </a:lnTo>
                  <a:lnTo>
                    <a:pt x="1685" y="1288"/>
                  </a:lnTo>
                  <a:close/>
                  <a:moveTo>
                    <a:pt x="83524" y="1090"/>
                  </a:moveTo>
                  <a:lnTo>
                    <a:pt x="83722" y="1288"/>
                  </a:lnTo>
                  <a:lnTo>
                    <a:pt x="83920" y="1586"/>
                  </a:lnTo>
                  <a:lnTo>
                    <a:pt x="84118" y="2874"/>
                  </a:lnTo>
                  <a:lnTo>
                    <a:pt x="84316" y="4162"/>
                  </a:lnTo>
                  <a:lnTo>
                    <a:pt x="84316" y="5152"/>
                  </a:lnTo>
                  <a:lnTo>
                    <a:pt x="84316" y="6143"/>
                  </a:lnTo>
                  <a:lnTo>
                    <a:pt x="84019" y="8224"/>
                  </a:lnTo>
                  <a:lnTo>
                    <a:pt x="83821" y="9512"/>
                  </a:lnTo>
                  <a:lnTo>
                    <a:pt x="83623" y="10899"/>
                  </a:lnTo>
                  <a:lnTo>
                    <a:pt x="83424" y="11890"/>
                  </a:lnTo>
                  <a:lnTo>
                    <a:pt x="83127" y="12880"/>
                  </a:lnTo>
                  <a:lnTo>
                    <a:pt x="82929" y="13673"/>
                  </a:lnTo>
                  <a:lnTo>
                    <a:pt x="82731" y="14466"/>
                  </a:lnTo>
                  <a:lnTo>
                    <a:pt x="82235" y="15952"/>
                  </a:lnTo>
                  <a:lnTo>
                    <a:pt x="81938" y="17240"/>
                  </a:lnTo>
                  <a:lnTo>
                    <a:pt x="81641" y="17834"/>
                  </a:lnTo>
                  <a:lnTo>
                    <a:pt x="81245" y="18429"/>
                  </a:lnTo>
                  <a:lnTo>
                    <a:pt x="81047" y="18825"/>
                  </a:lnTo>
                  <a:lnTo>
                    <a:pt x="80947" y="19023"/>
                  </a:lnTo>
                  <a:lnTo>
                    <a:pt x="80947" y="19320"/>
                  </a:lnTo>
                  <a:lnTo>
                    <a:pt x="80848" y="19519"/>
                  </a:lnTo>
                  <a:lnTo>
                    <a:pt x="80650" y="19816"/>
                  </a:lnTo>
                  <a:lnTo>
                    <a:pt x="80452" y="20113"/>
                  </a:lnTo>
                  <a:lnTo>
                    <a:pt x="80254" y="20708"/>
                  </a:lnTo>
                  <a:lnTo>
                    <a:pt x="79759" y="21500"/>
                  </a:lnTo>
                  <a:lnTo>
                    <a:pt x="79362" y="22392"/>
                  </a:lnTo>
                  <a:lnTo>
                    <a:pt x="78867" y="23383"/>
                  </a:lnTo>
                  <a:lnTo>
                    <a:pt x="78272" y="24373"/>
                  </a:lnTo>
                  <a:lnTo>
                    <a:pt x="77975" y="24869"/>
                  </a:lnTo>
                  <a:lnTo>
                    <a:pt x="77579" y="25364"/>
                  </a:lnTo>
                  <a:lnTo>
                    <a:pt x="76885" y="26256"/>
                  </a:lnTo>
                  <a:lnTo>
                    <a:pt x="76192" y="27346"/>
                  </a:lnTo>
                  <a:lnTo>
                    <a:pt x="75300" y="28237"/>
                  </a:lnTo>
                  <a:lnTo>
                    <a:pt x="73517" y="30219"/>
                  </a:lnTo>
                  <a:lnTo>
                    <a:pt x="72427" y="31309"/>
                  </a:lnTo>
                  <a:lnTo>
                    <a:pt x="71238" y="32399"/>
                  </a:lnTo>
                  <a:lnTo>
                    <a:pt x="70346" y="33191"/>
                  </a:lnTo>
                  <a:lnTo>
                    <a:pt x="69454" y="33984"/>
                  </a:lnTo>
                  <a:lnTo>
                    <a:pt x="68563" y="34678"/>
                  </a:lnTo>
                  <a:lnTo>
                    <a:pt x="67770" y="35470"/>
                  </a:lnTo>
                  <a:lnTo>
                    <a:pt x="67572" y="35569"/>
                  </a:lnTo>
                  <a:lnTo>
                    <a:pt x="67374" y="35569"/>
                  </a:lnTo>
                  <a:lnTo>
                    <a:pt x="67374" y="35470"/>
                  </a:lnTo>
                  <a:lnTo>
                    <a:pt x="67473" y="35272"/>
                  </a:lnTo>
                  <a:lnTo>
                    <a:pt x="67473" y="34975"/>
                  </a:lnTo>
                  <a:lnTo>
                    <a:pt x="67572" y="34777"/>
                  </a:lnTo>
                  <a:lnTo>
                    <a:pt x="67869" y="34380"/>
                  </a:lnTo>
                  <a:lnTo>
                    <a:pt x="68266" y="33984"/>
                  </a:lnTo>
                  <a:lnTo>
                    <a:pt x="68662" y="33687"/>
                  </a:lnTo>
                  <a:lnTo>
                    <a:pt x="69851" y="32300"/>
                  </a:lnTo>
                  <a:lnTo>
                    <a:pt x="70941" y="30913"/>
                  </a:lnTo>
                  <a:lnTo>
                    <a:pt x="72625" y="28634"/>
                  </a:lnTo>
                  <a:lnTo>
                    <a:pt x="73616" y="26949"/>
                  </a:lnTo>
                  <a:lnTo>
                    <a:pt x="74706" y="25364"/>
                  </a:lnTo>
                  <a:lnTo>
                    <a:pt x="75300" y="24274"/>
                  </a:lnTo>
                  <a:lnTo>
                    <a:pt x="75994" y="23085"/>
                  </a:lnTo>
                  <a:lnTo>
                    <a:pt x="76390" y="22095"/>
                  </a:lnTo>
                  <a:lnTo>
                    <a:pt x="76687" y="21599"/>
                  </a:lnTo>
                  <a:lnTo>
                    <a:pt x="76984" y="21203"/>
                  </a:lnTo>
                  <a:lnTo>
                    <a:pt x="77183" y="20906"/>
                  </a:lnTo>
                  <a:lnTo>
                    <a:pt x="77183" y="20708"/>
                  </a:lnTo>
                  <a:lnTo>
                    <a:pt x="77381" y="20113"/>
                  </a:lnTo>
                  <a:lnTo>
                    <a:pt x="77678" y="19420"/>
                  </a:lnTo>
                  <a:lnTo>
                    <a:pt x="78173" y="18231"/>
                  </a:lnTo>
                  <a:lnTo>
                    <a:pt x="79362" y="14763"/>
                  </a:lnTo>
                  <a:lnTo>
                    <a:pt x="79659" y="13772"/>
                  </a:lnTo>
                  <a:lnTo>
                    <a:pt x="79858" y="12781"/>
                  </a:lnTo>
                  <a:lnTo>
                    <a:pt x="80155" y="10701"/>
                  </a:lnTo>
                  <a:lnTo>
                    <a:pt x="80353" y="9611"/>
                  </a:lnTo>
                  <a:lnTo>
                    <a:pt x="80452" y="8422"/>
                  </a:lnTo>
                  <a:lnTo>
                    <a:pt x="80452" y="7332"/>
                  </a:lnTo>
                  <a:lnTo>
                    <a:pt x="80452" y="6143"/>
                  </a:lnTo>
                  <a:lnTo>
                    <a:pt x="80353" y="5648"/>
                  </a:lnTo>
                  <a:lnTo>
                    <a:pt x="80254" y="5152"/>
                  </a:lnTo>
                  <a:lnTo>
                    <a:pt x="80056" y="4756"/>
                  </a:lnTo>
                  <a:lnTo>
                    <a:pt x="79659" y="4360"/>
                  </a:lnTo>
                  <a:lnTo>
                    <a:pt x="79461" y="4261"/>
                  </a:lnTo>
                  <a:lnTo>
                    <a:pt x="79362" y="4162"/>
                  </a:lnTo>
                  <a:lnTo>
                    <a:pt x="79263" y="4261"/>
                  </a:lnTo>
                  <a:lnTo>
                    <a:pt x="78966" y="4360"/>
                  </a:lnTo>
                  <a:lnTo>
                    <a:pt x="78074" y="4360"/>
                  </a:lnTo>
                  <a:lnTo>
                    <a:pt x="77282" y="4459"/>
                  </a:lnTo>
                  <a:lnTo>
                    <a:pt x="76588" y="4558"/>
                  </a:lnTo>
                  <a:lnTo>
                    <a:pt x="75994" y="4657"/>
                  </a:lnTo>
                  <a:lnTo>
                    <a:pt x="75399" y="4657"/>
                  </a:lnTo>
                  <a:lnTo>
                    <a:pt x="74805" y="4756"/>
                  </a:lnTo>
                  <a:lnTo>
                    <a:pt x="74210" y="4855"/>
                  </a:lnTo>
                  <a:lnTo>
                    <a:pt x="73418" y="4954"/>
                  </a:lnTo>
                  <a:lnTo>
                    <a:pt x="72625" y="5053"/>
                  </a:lnTo>
                  <a:lnTo>
                    <a:pt x="72130" y="5053"/>
                  </a:lnTo>
                  <a:lnTo>
                    <a:pt x="71634" y="5152"/>
                  </a:lnTo>
                  <a:lnTo>
                    <a:pt x="70643" y="5251"/>
                  </a:lnTo>
                  <a:lnTo>
                    <a:pt x="70445" y="5251"/>
                  </a:lnTo>
                  <a:lnTo>
                    <a:pt x="70346" y="5350"/>
                  </a:lnTo>
                  <a:lnTo>
                    <a:pt x="70247" y="5450"/>
                  </a:lnTo>
                  <a:lnTo>
                    <a:pt x="70148" y="5747"/>
                  </a:lnTo>
                  <a:lnTo>
                    <a:pt x="69851" y="6539"/>
                  </a:lnTo>
                  <a:lnTo>
                    <a:pt x="69554" y="7332"/>
                  </a:lnTo>
                  <a:lnTo>
                    <a:pt x="68959" y="8719"/>
                  </a:lnTo>
                  <a:lnTo>
                    <a:pt x="68662" y="9413"/>
                  </a:lnTo>
                  <a:lnTo>
                    <a:pt x="68266" y="10007"/>
                  </a:lnTo>
                  <a:lnTo>
                    <a:pt x="67572" y="10800"/>
                  </a:lnTo>
                  <a:lnTo>
                    <a:pt x="66878" y="11493"/>
                  </a:lnTo>
                  <a:lnTo>
                    <a:pt x="66185" y="12088"/>
                  </a:lnTo>
                  <a:lnTo>
                    <a:pt x="65293" y="12682"/>
                  </a:lnTo>
                  <a:lnTo>
                    <a:pt x="65293" y="12187"/>
                  </a:lnTo>
                  <a:lnTo>
                    <a:pt x="65194" y="11791"/>
                  </a:lnTo>
                  <a:lnTo>
                    <a:pt x="64996" y="11097"/>
                  </a:lnTo>
                  <a:lnTo>
                    <a:pt x="64996" y="10800"/>
                  </a:lnTo>
                  <a:lnTo>
                    <a:pt x="65194" y="10503"/>
                  </a:lnTo>
                  <a:lnTo>
                    <a:pt x="66185" y="9710"/>
                  </a:lnTo>
                  <a:lnTo>
                    <a:pt x="66680" y="9215"/>
                  </a:lnTo>
                  <a:lnTo>
                    <a:pt x="67077" y="8620"/>
                  </a:lnTo>
                  <a:lnTo>
                    <a:pt x="67671" y="7431"/>
                  </a:lnTo>
                  <a:lnTo>
                    <a:pt x="67968" y="6242"/>
                  </a:lnTo>
                  <a:lnTo>
                    <a:pt x="68266" y="4954"/>
                  </a:lnTo>
                  <a:lnTo>
                    <a:pt x="68464" y="3666"/>
                  </a:lnTo>
                  <a:lnTo>
                    <a:pt x="68365" y="3369"/>
                  </a:lnTo>
                  <a:lnTo>
                    <a:pt x="68563" y="3072"/>
                  </a:lnTo>
                  <a:lnTo>
                    <a:pt x="68662" y="2874"/>
                  </a:lnTo>
                  <a:lnTo>
                    <a:pt x="68860" y="2874"/>
                  </a:lnTo>
                  <a:lnTo>
                    <a:pt x="69653" y="2576"/>
                  </a:lnTo>
                  <a:lnTo>
                    <a:pt x="70049" y="2477"/>
                  </a:lnTo>
                  <a:lnTo>
                    <a:pt x="70445" y="2477"/>
                  </a:lnTo>
                  <a:lnTo>
                    <a:pt x="70941" y="2378"/>
                  </a:lnTo>
                  <a:lnTo>
                    <a:pt x="71436" y="2279"/>
                  </a:lnTo>
                  <a:lnTo>
                    <a:pt x="71931" y="2180"/>
                  </a:lnTo>
                  <a:lnTo>
                    <a:pt x="72427" y="2081"/>
                  </a:lnTo>
                  <a:lnTo>
                    <a:pt x="73616" y="2081"/>
                  </a:lnTo>
                  <a:lnTo>
                    <a:pt x="74210" y="1982"/>
                  </a:lnTo>
                  <a:lnTo>
                    <a:pt x="74706" y="1685"/>
                  </a:lnTo>
                  <a:lnTo>
                    <a:pt x="75003" y="1586"/>
                  </a:lnTo>
                  <a:lnTo>
                    <a:pt x="75201" y="1486"/>
                  </a:lnTo>
                  <a:lnTo>
                    <a:pt x="75300" y="1288"/>
                  </a:lnTo>
                  <a:lnTo>
                    <a:pt x="75399" y="1586"/>
                  </a:lnTo>
                  <a:lnTo>
                    <a:pt x="75597" y="1685"/>
                  </a:lnTo>
                  <a:lnTo>
                    <a:pt x="75795" y="1685"/>
                  </a:lnTo>
                  <a:lnTo>
                    <a:pt x="76093" y="1586"/>
                  </a:lnTo>
                  <a:lnTo>
                    <a:pt x="76390" y="1486"/>
                  </a:lnTo>
                  <a:lnTo>
                    <a:pt x="77282" y="1486"/>
                  </a:lnTo>
                  <a:lnTo>
                    <a:pt x="78173" y="1288"/>
                  </a:lnTo>
                  <a:lnTo>
                    <a:pt x="79263" y="1288"/>
                  </a:lnTo>
                  <a:lnTo>
                    <a:pt x="79759" y="1387"/>
                  </a:lnTo>
                  <a:lnTo>
                    <a:pt x="80155" y="1288"/>
                  </a:lnTo>
                  <a:lnTo>
                    <a:pt x="81047" y="1288"/>
                  </a:lnTo>
                  <a:lnTo>
                    <a:pt x="81938" y="1387"/>
                  </a:lnTo>
                  <a:lnTo>
                    <a:pt x="82335" y="1288"/>
                  </a:lnTo>
                  <a:lnTo>
                    <a:pt x="82731" y="1189"/>
                  </a:lnTo>
                  <a:lnTo>
                    <a:pt x="82929" y="1189"/>
                  </a:lnTo>
                  <a:lnTo>
                    <a:pt x="83127" y="1288"/>
                  </a:lnTo>
                  <a:lnTo>
                    <a:pt x="83325" y="1288"/>
                  </a:lnTo>
                  <a:lnTo>
                    <a:pt x="83524" y="1090"/>
                  </a:lnTo>
                  <a:close/>
                  <a:moveTo>
                    <a:pt x="46270" y="3567"/>
                  </a:moveTo>
                  <a:lnTo>
                    <a:pt x="49243" y="3666"/>
                  </a:lnTo>
                  <a:lnTo>
                    <a:pt x="52116" y="3864"/>
                  </a:lnTo>
                  <a:lnTo>
                    <a:pt x="55484" y="4162"/>
                  </a:lnTo>
                  <a:lnTo>
                    <a:pt x="56872" y="4261"/>
                  </a:lnTo>
                  <a:lnTo>
                    <a:pt x="57664" y="4360"/>
                  </a:lnTo>
                  <a:lnTo>
                    <a:pt x="58358" y="4261"/>
                  </a:lnTo>
                  <a:lnTo>
                    <a:pt x="59249" y="4261"/>
                  </a:lnTo>
                  <a:lnTo>
                    <a:pt x="60042" y="4459"/>
                  </a:lnTo>
                  <a:lnTo>
                    <a:pt x="61726" y="4756"/>
                  </a:lnTo>
                  <a:lnTo>
                    <a:pt x="62123" y="4954"/>
                  </a:lnTo>
                  <a:lnTo>
                    <a:pt x="62420" y="5152"/>
                  </a:lnTo>
                  <a:lnTo>
                    <a:pt x="62717" y="5549"/>
                  </a:lnTo>
                  <a:lnTo>
                    <a:pt x="62816" y="6143"/>
                  </a:lnTo>
                  <a:lnTo>
                    <a:pt x="63312" y="8818"/>
                  </a:lnTo>
                  <a:lnTo>
                    <a:pt x="63510" y="9512"/>
                  </a:lnTo>
                  <a:lnTo>
                    <a:pt x="63807" y="10205"/>
                  </a:lnTo>
                  <a:lnTo>
                    <a:pt x="63906" y="10503"/>
                  </a:lnTo>
                  <a:lnTo>
                    <a:pt x="63807" y="10602"/>
                  </a:lnTo>
                  <a:lnTo>
                    <a:pt x="63807" y="10800"/>
                  </a:lnTo>
                  <a:lnTo>
                    <a:pt x="63807" y="10998"/>
                  </a:lnTo>
                  <a:lnTo>
                    <a:pt x="64005" y="11493"/>
                  </a:lnTo>
                  <a:lnTo>
                    <a:pt x="64203" y="12088"/>
                  </a:lnTo>
                  <a:lnTo>
                    <a:pt x="64401" y="13178"/>
                  </a:lnTo>
                  <a:lnTo>
                    <a:pt x="64501" y="13673"/>
                  </a:lnTo>
                  <a:lnTo>
                    <a:pt x="64600" y="13970"/>
                  </a:lnTo>
                  <a:lnTo>
                    <a:pt x="64798" y="14168"/>
                  </a:lnTo>
                  <a:lnTo>
                    <a:pt x="64897" y="14168"/>
                  </a:lnTo>
                  <a:lnTo>
                    <a:pt x="64897" y="14267"/>
                  </a:lnTo>
                  <a:lnTo>
                    <a:pt x="64798" y="14367"/>
                  </a:lnTo>
                  <a:lnTo>
                    <a:pt x="64699" y="14466"/>
                  </a:lnTo>
                  <a:lnTo>
                    <a:pt x="64897" y="15060"/>
                  </a:lnTo>
                  <a:lnTo>
                    <a:pt x="64996" y="15754"/>
                  </a:lnTo>
                  <a:lnTo>
                    <a:pt x="65194" y="17141"/>
                  </a:lnTo>
                  <a:lnTo>
                    <a:pt x="65392" y="18528"/>
                  </a:lnTo>
                  <a:lnTo>
                    <a:pt x="65888" y="21302"/>
                  </a:lnTo>
                  <a:lnTo>
                    <a:pt x="65987" y="21996"/>
                  </a:lnTo>
                  <a:lnTo>
                    <a:pt x="65987" y="22788"/>
                  </a:lnTo>
                  <a:lnTo>
                    <a:pt x="66185" y="23581"/>
                  </a:lnTo>
                  <a:lnTo>
                    <a:pt x="66284" y="24473"/>
                  </a:lnTo>
                  <a:lnTo>
                    <a:pt x="66383" y="25959"/>
                  </a:lnTo>
                  <a:lnTo>
                    <a:pt x="66482" y="27445"/>
                  </a:lnTo>
                  <a:lnTo>
                    <a:pt x="66581" y="29426"/>
                  </a:lnTo>
                  <a:lnTo>
                    <a:pt x="66581" y="31408"/>
                  </a:lnTo>
                  <a:lnTo>
                    <a:pt x="66581" y="33092"/>
                  </a:lnTo>
                  <a:lnTo>
                    <a:pt x="66482" y="34777"/>
                  </a:lnTo>
                  <a:lnTo>
                    <a:pt x="66482" y="35668"/>
                  </a:lnTo>
                  <a:lnTo>
                    <a:pt x="66383" y="36164"/>
                  </a:lnTo>
                  <a:lnTo>
                    <a:pt x="66284" y="36659"/>
                  </a:lnTo>
                  <a:lnTo>
                    <a:pt x="66185" y="36857"/>
                  </a:lnTo>
                  <a:lnTo>
                    <a:pt x="66086" y="36956"/>
                  </a:lnTo>
                  <a:lnTo>
                    <a:pt x="65888" y="37155"/>
                  </a:lnTo>
                  <a:lnTo>
                    <a:pt x="65789" y="37254"/>
                  </a:lnTo>
                  <a:lnTo>
                    <a:pt x="65888" y="37353"/>
                  </a:lnTo>
                  <a:lnTo>
                    <a:pt x="66086" y="37452"/>
                  </a:lnTo>
                  <a:lnTo>
                    <a:pt x="66185" y="37650"/>
                  </a:lnTo>
                  <a:lnTo>
                    <a:pt x="66086" y="37947"/>
                  </a:lnTo>
                  <a:lnTo>
                    <a:pt x="65987" y="38343"/>
                  </a:lnTo>
                  <a:lnTo>
                    <a:pt x="65888" y="39136"/>
                  </a:lnTo>
                  <a:lnTo>
                    <a:pt x="65392" y="40919"/>
                  </a:lnTo>
                  <a:lnTo>
                    <a:pt x="64897" y="42009"/>
                  </a:lnTo>
                  <a:lnTo>
                    <a:pt x="64600" y="42406"/>
                  </a:lnTo>
                  <a:lnTo>
                    <a:pt x="64302" y="42802"/>
                  </a:lnTo>
                  <a:lnTo>
                    <a:pt x="64005" y="43198"/>
                  </a:lnTo>
                  <a:lnTo>
                    <a:pt x="63807" y="43694"/>
                  </a:lnTo>
                  <a:lnTo>
                    <a:pt x="63609" y="43793"/>
                  </a:lnTo>
                  <a:lnTo>
                    <a:pt x="63213" y="43991"/>
                  </a:lnTo>
                  <a:lnTo>
                    <a:pt x="62915" y="44288"/>
                  </a:lnTo>
                  <a:lnTo>
                    <a:pt x="62321" y="44883"/>
                  </a:lnTo>
                  <a:lnTo>
                    <a:pt x="61528" y="45378"/>
                  </a:lnTo>
                  <a:lnTo>
                    <a:pt x="60637" y="45873"/>
                  </a:lnTo>
                  <a:lnTo>
                    <a:pt x="59547" y="46468"/>
                  </a:lnTo>
                  <a:lnTo>
                    <a:pt x="59051" y="46765"/>
                  </a:lnTo>
                  <a:lnTo>
                    <a:pt x="58556" y="46963"/>
                  </a:lnTo>
                  <a:lnTo>
                    <a:pt x="57862" y="47161"/>
                  </a:lnTo>
                  <a:lnTo>
                    <a:pt x="57565" y="47260"/>
                  </a:lnTo>
                  <a:lnTo>
                    <a:pt x="57169" y="47360"/>
                  </a:lnTo>
                  <a:lnTo>
                    <a:pt x="56971" y="47360"/>
                  </a:lnTo>
                  <a:lnTo>
                    <a:pt x="56872" y="47558"/>
                  </a:lnTo>
                  <a:lnTo>
                    <a:pt x="56773" y="47657"/>
                  </a:lnTo>
                  <a:lnTo>
                    <a:pt x="56574" y="47657"/>
                  </a:lnTo>
                  <a:lnTo>
                    <a:pt x="56376" y="47558"/>
                  </a:lnTo>
                  <a:lnTo>
                    <a:pt x="56277" y="47558"/>
                  </a:lnTo>
                  <a:lnTo>
                    <a:pt x="55980" y="47657"/>
                  </a:lnTo>
                  <a:lnTo>
                    <a:pt x="54395" y="48251"/>
                  </a:lnTo>
                  <a:lnTo>
                    <a:pt x="53305" y="48449"/>
                  </a:lnTo>
                  <a:lnTo>
                    <a:pt x="52314" y="48747"/>
                  </a:lnTo>
                  <a:lnTo>
                    <a:pt x="51620" y="48945"/>
                  </a:lnTo>
                  <a:lnTo>
                    <a:pt x="50927" y="49143"/>
                  </a:lnTo>
                  <a:lnTo>
                    <a:pt x="49540" y="49341"/>
                  </a:lnTo>
                  <a:lnTo>
                    <a:pt x="48945" y="49440"/>
                  </a:lnTo>
                  <a:lnTo>
                    <a:pt x="48648" y="49539"/>
                  </a:lnTo>
                  <a:lnTo>
                    <a:pt x="48351" y="49638"/>
                  </a:lnTo>
                  <a:lnTo>
                    <a:pt x="48153" y="49638"/>
                  </a:lnTo>
                  <a:lnTo>
                    <a:pt x="48054" y="49539"/>
                  </a:lnTo>
                  <a:lnTo>
                    <a:pt x="47657" y="49539"/>
                  </a:lnTo>
                  <a:lnTo>
                    <a:pt x="46964" y="49737"/>
                  </a:lnTo>
                  <a:lnTo>
                    <a:pt x="46270" y="49936"/>
                  </a:lnTo>
                  <a:lnTo>
                    <a:pt x="44883" y="50035"/>
                  </a:lnTo>
                  <a:lnTo>
                    <a:pt x="43991" y="50035"/>
                  </a:lnTo>
                  <a:lnTo>
                    <a:pt x="43100" y="49936"/>
                  </a:lnTo>
                  <a:lnTo>
                    <a:pt x="40920" y="49936"/>
                  </a:lnTo>
                  <a:lnTo>
                    <a:pt x="38740" y="49737"/>
                  </a:lnTo>
                  <a:lnTo>
                    <a:pt x="35174" y="49242"/>
                  </a:lnTo>
                  <a:lnTo>
                    <a:pt x="33886" y="49044"/>
                  </a:lnTo>
                  <a:lnTo>
                    <a:pt x="32498" y="48648"/>
                  </a:lnTo>
                  <a:lnTo>
                    <a:pt x="29823" y="47855"/>
                  </a:lnTo>
                  <a:lnTo>
                    <a:pt x="28238" y="47360"/>
                  </a:lnTo>
                  <a:lnTo>
                    <a:pt x="26653" y="46765"/>
                  </a:lnTo>
                  <a:lnTo>
                    <a:pt x="25860" y="46468"/>
                  </a:lnTo>
                  <a:lnTo>
                    <a:pt x="25068" y="46072"/>
                  </a:lnTo>
                  <a:lnTo>
                    <a:pt x="23482" y="45180"/>
                  </a:lnTo>
                  <a:lnTo>
                    <a:pt x="22888" y="44684"/>
                  </a:lnTo>
                  <a:lnTo>
                    <a:pt x="22293" y="44189"/>
                  </a:lnTo>
                  <a:lnTo>
                    <a:pt x="21798" y="43694"/>
                  </a:lnTo>
                  <a:lnTo>
                    <a:pt x="21303" y="43099"/>
                  </a:lnTo>
                  <a:lnTo>
                    <a:pt x="20510" y="41811"/>
                  </a:lnTo>
                  <a:lnTo>
                    <a:pt x="19817" y="40424"/>
                  </a:lnTo>
                  <a:lnTo>
                    <a:pt x="19519" y="39334"/>
                  </a:lnTo>
                  <a:lnTo>
                    <a:pt x="19321" y="38839"/>
                  </a:lnTo>
                  <a:lnTo>
                    <a:pt x="19123" y="38343"/>
                  </a:lnTo>
                  <a:lnTo>
                    <a:pt x="19123" y="38244"/>
                  </a:lnTo>
                  <a:lnTo>
                    <a:pt x="19222" y="38145"/>
                  </a:lnTo>
                  <a:lnTo>
                    <a:pt x="19321" y="37947"/>
                  </a:lnTo>
                  <a:lnTo>
                    <a:pt x="19222" y="37848"/>
                  </a:lnTo>
                  <a:lnTo>
                    <a:pt x="19024" y="37551"/>
                  </a:lnTo>
                  <a:lnTo>
                    <a:pt x="18826" y="37353"/>
                  </a:lnTo>
                  <a:lnTo>
                    <a:pt x="19024" y="37254"/>
                  </a:lnTo>
                  <a:lnTo>
                    <a:pt x="19123" y="37254"/>
                  </a:lnTo>
                  <a:lnTo>
                    <a:pt x="19321" y="37353"/>
                  </a:lnTo>
                  <a:lnTo>
                    <a:pt x="19519" y="37254"/>
                  </a:lnTo>
                  <a:lnTo>
                    <a:pt x="19123" y="36857"/>
                  </a:lnTo>
                  <a:lnTo>
                    <a:pt x="18925" y="36560"/>
                  </a:lnTo>
                  <a:lnTo>
                    <a:pt x="18826" y="36263"/>
                  </a:lnTo>
                  <a:lnTo>
                    <a:pt x="18727" y="35866"/>
                  </a:lnTo>
                  <a:lnTo>
                    <a:pt x="18727" y="35668"/>
                  </a:lnTo>
                  <a:lnTo>
                    <a:pt x="18727" y="35371"/>
                  </a:lnTo>
                  <a:lnTo>
                    <a:pt x="18826" y="35272"/>
                  </a:lnTo>
                  <a:lnTo>
                    <a:pt x="18727" y="35173"/>
                  </a:lnTo>
                  <a:lnTo>
                    <a:pt x="18628" y="34876"/>
                  </a:lnTo>
                  <a:lnTo>
                    <a:pt x="18628" y="33687"/>
                  </a:lnTo>
                  <a:lnTo>
                    <a:pt x="18628" y="32498"/>
                  </a:lnTo>
                  <a:lnTo>
                    <a:pt x="18628" y="32399"/>
                  </a:lnTo>
                  <a:lnTo>
                    <a:pt x="18528" y="32201"/>
                  </a:lnTo>
                  <a:lnTo>
                    <a:pt x="18330" y="32002"/>
                  </a:lnTo>
                  <a:lnTo>
                    <a:pt x="18528" y="31903"/>
                  </a:lnTo>
                  <a:lnTo>
                    <a:pt x="18628" y="31705"/>
                  </a:lnTo>
                  <a:lnTo>
                    <a:pt x="18628" y="31210"/>
                  </a:lnTo>
                  <a:lnTo>
                    <a:pt x="18528" y="30516"/>
                  </a:lnTo>
                  <a:lnTo>
                    <a:pt x="18628" y="29724"/>
                  </a:lnTo>
                  <a:lnTo>
                    <a:pt x="18628" y="29129"/>
                  </a:lnTo>
                  <a:lnTo>
                    <a:pt x="18628" y="28535"/>
                  </a:lnTo>
                  <a:lnTo>
                    <a:pt x="18727" y="27346"/>
                  </a:lnTo>
                  <a:lnTo>
                    <a:pt x="18826" y="26157"/>
                  </a:lnTo>
                  <a:lnTo>
                    <a:pt x="18925" y="24373"/>
                  </a:lnTo>
                  <a:lnTo>
                    <a:pt x="18925" y="23779"/>
                  </a:lnTo>
                  <a:lnTo>
                    <a:pt x="19024" y="23482"/>
                  </a:lnTo>
                  <a:lnTo>
                    <a:pt x="19123" y="23185"/>
                  </a:lnTo>
                  <a:lnTo>
                    <a:pt x="19222" y="22986"/>
                  </a:lnTo>
                  <a:lnTo>
                    <a:pt x="19222" y="22887"/>
                  </a:lnTo>
                  <a:lnTo>
                    <a:pt x="19123" y="22590"/>
                  </a:lnTo>
                  <a:lnTo>
                    <a:pt x="19024" y="22293"/>
                  </a:lnTo>
                  <a:lnTo>
                    <a:pt x="19123" y="21797"/>
                  </a:lnTo>
                  <a:lnTo>
                    <a:pt x="19321" y="21302"/>
                  </a:lnTo>
                  <a:lnTo>
                    <a:pt x="19321" y="20708"/>
                  </a:lnTo>
                  <a:lnTo>
                    <a:pt x="19420" y="20113"/>
                  </a:lnTo>
                  <a:lnTo>
                    <a:pt x="19519" y="19717"/>
                  </a:lnTo>
                  <a:lnTo>
                    <a:pt x="19618" y="19320"/>
                  </a:lnTo>
                  <a:lnTo>
                    <a:pt x="19717" y="19023"/>
                  </a:lnTo>
                  <a:lnTo>
                    <a:pt x="19717" y="18330"/>
                  </a:lnTo>
                  <a:lnTo>
                    <a:pt x="20015" y="17339"/>
                  </a:lnTo>
                  <a:lnTo>
                    <a:pt x="20114" y="16844"/>
                  </a:lnTo>
                  <a:lnTo>
                    <a:pt x="20015" y="16348"/>
                  </a:lnTo>
                  <a:lnTo>
                    <a:pt x="20015" y="16051"/>
                  </a:lnTo>
                  <a:lnTo>
                    <a:pt x="20015" y="15754"/>
                  </a:lnTo>
                  <a:lnTo>
                    <a:pt x="20114" y="15456"/>
                  </a:lnTo>
                  <a:lnTo>
                    <a:pt x="20312" y="15159"/>
                  </a:lnTo>
                  <a:lnTo>
                    <a:pt x="20411" y="14961"/>
                  </a:lnTo>
                  <a:lnTo>
                    <a:pt x="20411" y="14763"/>
                  </a:lnTo>
                  <a:lnTo>
                    <a:pt x="20411" y="14466"/>
                  </a:lnTo>
                  <a:lnTo>
                    <a:pt x="20411" y="14069"/>
                  </a:lnTo>
                  <a:lnTo>
                    <a:pt x="20609" y="13772"/>
                  </a:lnTo>
                  <a:lnTo>
                    <a:pt x="20708" y="13574"/>
                  </a:lnTo>
                  <a:lnTo>
                    <a:pt x="20807" y="13178"/>
                  </a:lnTo>
                  <a:lnTo>
                    <a:pt x="20906" y="12484"/>
                  </a:lnTo>
                  <a:lnTo>
                    <a:pt x="21105" y="11890"/>
                  </a:lnTo>
                  <a:lnTo>
                    <a:pt x="21105" y="11691"/>
                  </a:lnTo>
                  <a:lnTo>
                    <a:pt x="21105" y="11592"/>
                  </a:lnTo>
                  <a:lnTo>
                    <a:pt x="21105" y="11394"/>
                  </a:lnTo>
                  <a:lnTo>
                    <a:pt x="21105" y="11196"/>
                  </a:lnTo>
                  <a:lnTo>
                    <a:pt x="21303" y="11097"/>
                  </a:lnTo>
                  <a:lnTo>
                    <a:pt x="21501" y="10998"/>
                  </a:lnTo>
                  <a:lnTo>
                    <a:pt x="21501" y="10899"/>
                  </a:lnTo>
                  <a:lnTo>
                    <a:pt x="21501" y="10701"/>
                  </a:lnTo>
                  <a:lnTo>
                    <a:pt x="21402" y="10403"/>
                  </a:lnTo>
                  <a:lnTo>
                    <a:pt x="21402" y="10106"/>
                  </a:lnTo>
                  <a:lnTo>
                    <a:pt x="21501" y="9512"/>
                  </a:lnTo>
                  <a:lnTo>
                    <a:pt x="21600" y="9215"/>
                  </a:lnTo>
                  <a:lnTo>
                    <a:pt x="21699" y="8917"/>
                  </a:lnTo>
                  <a:lnTo>
                    <a:pt x="21798" y="8719"/>
                  </a:lnTo>
                  <a:lnTo>
                    <a:pt x="21897" y="8521"/>
                  </a:lnTo>
                  <a:lnTo>
                    <a:pt x="21897" y="8224"/>
                  </a:lnTo>
                  <a:lnTo>
                    <a:pt x="21897" y="8026"/>
                  </a:lnTo>
                  <a:lnTo>
                    <a:pt x="21996" y="7629"/>
                  </a:lnTo>
                  <a:lnTo>
                    <a:pt x="22095" y="7134"/>
                  </a:lnTo>
                  <a:lnTo>
                    <a:pt x="22095" y="6738"/>
                  </a:lnTo>
                  <a:lnTo>
                    <a:pt x="22194" y="6341"/>
                  </a:lnTo>
                  <a:lnTo>
                    <a:pt x="22393" y="5945"/>
                  </a:lnTo>
                  <a:lnTo>
                    <a:pt x="22492" y="5549"/>
                  </a:lnTo>
                  <a:lnTo>
                    <a:pt x="22690" y="5152"/>
                  </a:lnTo>
                  <a:lnTo>
                    <a:pt x="22789" y="5053"/>
                  </a:lnTo>
                  <a:lnTo>
                    <a:pt x="22987" y="4855"/>
                  </a:lnTo>
                  <a:lnTo>
                    <a:pt x="23086" y="4855"/>
                  </a:lnTo>
                  <a:lnTo>
                    <a:pt x="23185" y="4756"/>
                  </a:lnTo>
                  <a:lnTo>
                    <a:pt x="23780" y="4756"/>
                  </a:lnTo>
                  <a:lnTo>
                    <a:pt x="24374" y="4459"/>
                  </a:lnTo>
                  <a:lnTo>
                    <a:pt x="24869" y="4261"/>
                  </a:lnTo>
                  <a:lnTo>
                    <a:pt x="25365" y="4162"/>
                  </a:lnTo>
                  <a:lnTo>
                    <a:pt x="25860" y="4162"/>
                  </a:lnTo>
                  <a:lnTo>
                    <a:pt x="26356" y="4261"/>
                  </a:lnTo>
                  <a:lnTo>
                    <a:pt x="28238" y="4261"/>
                  </a:lnTo>
                  <a:lnTo>
                    <a:pt x="28833" y="4360"/>
                  </a:lnTo>
                  <a:lnTo>
                    <a:pt x="29427" y="4360"/>
                  </a:lnTo>
                  <a:lnTo>
                    <a:pt x="29625" y="4162"/>
                  </a:lnTo>
                  <a:lnTo>
                    <a:pt x="30616" y="4162"/>
                  </a:lnTo>
                  <a:lnTo>
                    <a:pt x="31508" y="4062"/>
                  </a:lnTo>
                  <a:lnTo>
                    <a:pt x="32598" y="4062"/>
                  </a:lnTo>
                  <a:lnTo>
                    <a:pt x="33786" y="3963"/>
                  </a:lnTo>
                  <a:lnTo>
                    <a:pt x="34678" y="3864"/>
                  </a:lnTo>
                  <a:lnTo>
                    <a:pt x="35570" y="3864"/>
                  </a:lnTo>
                  <a:lnTo>
                    <a:pt x="37155" y="3666"/>
                  </a:lnTo>
                  <a:lnTo>
                    <a:pt x="38839" y="3666"/>
                  </a:lnTo>
                  <a:lnTo>
                    <a:pt x="41019" y="3567"/>
                  </a:lnTo>
                  <a:close/>
                  <a:moveTo>
                    <a:pt x="47558" y="50530"/>
                  </a:moveTo>
                  <a:lnTo>
                    <a:pt x="48054" y="50629"/>
                  </a:lnTo>
                  <a:lnTo>
                    <a:pt x="48252" y="50728"/>
                  </a:lnTo>
                  <a:lnTo>
                    <a:pt x="48351" y="51025"/>
                  </a:lnTo>
                  <a:lnTo>
                    <a:pt x="48153" y="51422"/>
                  </a:lnTo>
                  <a:lnTo>
                    <a:pt x="48054" y="51620"/>
                  </a:lnTo>
                  <a:lnTo>
                    <a:pt x="48054" y="51917"/>
                  </a:lnTo>
                  <a:lnTo>
                    <a:pt x="47955" y="52413"/>
                  </a:lnTo>
                  <a:lnTo>
                    <a:pt x="47856" y="52611"/>
                  </a:lnTo>
                  <a:lnTo>
                    <a:pt x="47756" y="52809"/>
                  </a:lnTo>
                  <a:lnTo>
                    <a:pt x="47558" y="52809"/>
                  </a:lnTo>
                  <a:lnTo>
                    <a:pt x="47360" y="52908"/>
                  </a:lnTo>
                  <a:lnTo>
                    <a:pt x="45478" y="52710"/>
                  </a:lnTo>
                  <a:lnTo>
                    <a:pt x="44487" y="52611"/>
                  </a:lnTo>
                  <a:lnTo>
                    <a:pt x="43595" y="52710"/>
                  </a:lnTo>
                  <a:lnTo>
                    <a:pt x="39533" y="52710"/>
                  </a:lnTo>
                  <a:lnTo>
                    <a:pt x="38641" y="52809"/>
                  </a:lnTo>
                  <a:lnTo>
                    <a:pt x="37750" y="52809"/>
                  </a:lnTo>
                  <a:lnTo>
                    <a:pt x="37452" y="52710"/>
                  </a:lnTo>
                  <a:lnTo>
                    <a:pt x="37353" y="52611"/>
                  </a:lnTo>
                  <a:lnTo>
                    <a:pt x="37353" y="52413"/>
                  </a:lnTo>
                  <a:lnTo>
                    <a:pt x="37155" y="51719"/>
                  </a:lnTo>
                  <a:lnTo>
                    <a:pt x="37056" y="51422"/>
                  </a:lnTo>
                  <a:lnTo>
                    <a:pt x="37056" y="51025"/>
                  </a:lnTo>
                  <a:lnTo>
                    <a:pt x="36957" y="50827"/>
                  </a:lnTo>
                  <a:lnTo>
                    <a:pt x="36759" y="50530"/>
                  </a:lnTo>
                  <a:lnTo>
                    <a:pt x="37551" y="50530"/>
                  </a:lnTo>
                  <a:lnTo>
                    <a:pt x="38245" y="50629"/>
                  </a:lnTo>
                  <a:lnTo>
                    <a:pt x="39038" y="50728"/>
                  </a:lnTo>
                  <a:lnTo>
                    <a:pt x="45577" y="50728"/>
                  </a:lnTo>
                  <a:lnTo>
                    <a:pt x="46568" y="50629"/>
                  </a:lnTo>
                  <a:lnTo>
                    <a:pt x="47558" y="50530"/>
                  </a:lnTo>
                  <a:close/>
                  <a:moveTo>
                    <a:pt x="38443" y="53205"/>
                  </a:moveTo>
                  <a:lnTo>
                    <a:pt x="40127" y="53403"/>
                  </a:lnTo>
                  <a:lnTo>
                    <a:pt x="41911" y="53502"/>
                  </a:lnTo>
                  <a:lnTo>
                    <a:pt x="42604" y="53601"/>
                  </a:lnTo>
                  <a:lnTo>
                    <a:pt x="43298" y="53502"/>
                  </a:lnTo>
                  <a:lnTo>
                    <a:pt x="44784" y="53502"/>
                  </a:lnTo>
                  <a:lnTo>
                    <a:pt x="46072" y="53403"/>
                  </a:lnTo>
                  <a:lnTo>
                    <a:pt x="47261" y="53304"/>
                  </a:lnTo>
                  <a:lnTo>
                    <a:pt x="47558" y="53403"/>
                  </a:lnTo>
                  <a:lnTo>
                    <a:pt x="47657" y="53403"/>
                  </a:lnTo>
                  <a:lnTo>
                    <a:pt x="47756" y="53601"/>
                  </a:lnTo>
                  <a:lnTo>
                    <a:pt x="47657" y="53899"/>
                  </a:lnTo>
                  <a:lnTo>
                    <a:pt x="47459" y="54889"/>
                  </a:lnTo>
                  <a:lnTo>
                    <a:pt x="47261" y="55880"/>
                  </a:lnTo>
                  <a:lnTo>
                    <a:pt x="47261" y="56078"/>
                  </a:lnTo>
                  <a:lnTo>
                    <a:pt x="47162" y="56177"/>
                  </a:lnTo>
                  <a:lnTo>
                    <a:pt x="47063" y="56277"/>
                  </a:lnTo>
                  <a:lnTo>
                    <a:pt x="46766" y="56277"/>
                  </a:lnTo>
                  <a:lnTo>
                    <a:pt x="43595" y="56376"/>
                  </a:lnTo>
                  <a:lnTo>
                    <a:pt x="39137" y="56277"/>
                  </a:lnTo>
                  <a:lnTo>
                    <a:pt x="38740" y="56277"/>
                  </a:lnTo>
                  <a:lnTo>
                    <a:pt x="38443" y="56376"/>
                  </a:lnTo>
                  <a:lnTo>
                    <a:pt x="38146" y="56376"/>
                  </a:lnTo>
                  <a:lnTo>
                    <a:pt x="38047" y="56078"/>
                  </a:lnTo>
                  <a:lnTo>
                    <a:pt x="37849" y="55286"/>
                  </a:lnTo>
                  <a:lnTo>
                    <a:pt x="37750" y="54790"/>
                  </a:lnTo>
                  <a:lnTo>
                    <a:pt x="37750" y="54394"/>
                  </a:lnTo>
                  <a:lnTo>
                    <a:pt x="37750" y="54196"/>
                  </a:lnTo>
                  <a:lnTo>
                    <a:pt x="37551" y="53998"/>
                  </a:lnTo>
                  <a:lnTo>
                    <a:pt x="37452" y="53701"/>
                  </a:lnTo>
                  <a:lnTo>
                    <a:pt x="37551" y="53403"/>
                  </a:lnTo>
                  <a:lnTo>
                    <a:pt x="37750" y="53304"/>
                  </a:lnTo>
                  <a:lnTo>
                    <a:pt x="38047" y="53205"/>
                  </a:lnTo>
                  <a:close/>
                  <a:moveTo>
                    <a:pt x="44586" y="57168"/>
                  </a:moveTo>
                  <a:lnTo>
                    <a:pt x="45180" y="57267"/>
                  </a:lnTo>
                  <a:lnTo>
                    <a:pt x="45379" y="57366"/>
                  </a:lnTo>
                  <a:lnTo>
                    <a:pt x="45478" y="57565"/>
                  </a:lnTo>
                  <a:lnTo>
                    <a:pt x="45478" y="57763"/>
                  </a:lnTo>
                  <a:lnTo>
                    <a:pt x="45478" y="57961"/>
                  </a:lnTo>
                  <a:lnTo>
                    <a:pt x="45379" y="58952"/>
                  </a:lnTo>
                  <a:lnTo>
                    <a:pt x="45379" y="59942"/>
                  </a:lnTo>
                  <a:lnTo>
                    <a:pt x="45379" y="60834"/>
                  </a:lnTo>
                  <a:lnTo>
                    <a:pt x="45379" y="61726"/>
                  </a:lnTo>
                  <a:lnTo>
                    <a:pt x="45379" y="62717"/>
                  </a:lnTo>
                  <a:lnTo>
                    <a:pt x="45478" y="63608"/>
                  </a:lnTo>
                  <a:lnTo>
                    <a:pt x="45478" y="64797"/>
                  </a:lnTo>
                  <a:lnTo>
                    <a:pt x="45478" y="66085"/>
                  </a:lnTo>
                  <a:lnTo>
                    <a:pt x="45577" y="68364"/>
                  </a:lnTo>
                  <a:lnTo>
                    <a:pt x="45676" y="69454"/>
                  </a:lnTo>
                  <a:lnTo>
                    <a:pt x="45775" y="70544"/>
                  </a:lnTo>
                  <a:lnTo>
                    <a:pt x="45874" y="72129"/>
                  </a:lnTo>
                  <a:lnTo>
                    <a:pt x="46171" y="73714"/>
                  </a:lnTo>
                  <a:lnTo>
                    <a:pt x="46468" y="74210"/>
                  </a:lnTo>
                  <a:lnTo>
                    <a:pt x="46865" y="74705"/>
                  </a:lnTo>
                  <a:lnTo>
                    <a:pt x="47756" y="75498"/>
                  </a:lnTo>
                  <a:lnTo>
                    <a:pt x="48153" y="75795"/>
                  </a:lnTo>
                  <a:lnTo>
                    <a:pt x="48648" y="75993"/>
                  </a:lnTo>
                  <a:lnTo>
                    <a:pt x="49044" y="76191"/>
                  </a:lnTo>
                  <a:lnTo>
                    <a:pt x="49441" y="76588"/>
                  </a:lnTo>
                  <a:lnTo>
                    <a:pt x="49540" y="76687"/>
                  </a:lnTo>
                  <a:lnTo>
                    <a:pt x="49837" y="76786"/>
                  </a:lnTo>
                  <a:lnTo>
                    <a:pt x="50332" y="76984"/>
                  </a:lnTo>
                  <a:lnTo>
                    <a:pt x="50531" y="76984"/>
                  </a:lnTo>
                  <a:lnTo>
                    <a:pt x="50630" y="77083"/>
                  </a:lnTo>
                  <a:lnTo>
                    <a:pt x="50828" y="77182"/>
                  </a:lnTo>
                  <a:lnTo>
                    <a:pt x="51026" y="77380"/>
                  </a:lnTo>
                  <a:lnTo>
                    <a:pt x="51323" y="77479"/>
                  </a:lnTo>
                  <a:lnTo>
                    <a:pt x="51521" y="77677"/>
                  </a:lnTo>
                  <a:lnTo>
                    <a:pt x="51819" y="77876"/>
                  </a:lnTo>
                  <a:lnTo>
                    <a:pt x="52215" y="78074"/>
                  </a:lnTo>
                  <a:lnTo>
                    <a:pt x="53107" y="78470"/>
                  </a:lnTo>
                  <a:lnTo>
                    <a:pt x="54692" y="79164"/>
                  </a:lnTo>
                  <a:lnTo>
                    <a:pt x="55286" y="79560"/>
                  </a:lnTo>
                  <a:lnTo>
                    <a:pt x="55584" y="79758"/>
                  </a:lnTo>
                  <a:lnTo>
                    <a:pt x="55980" y="79956"/>
                  </a:lnTo>
                  <a:lnTo>
                    <a:pt x="56673" y="80055"/>
                  </a:lnTo>
                  <a:lnTo>
                    <a:pt x="57070" y="80253"/>
                  </a:lnTo>
                  <a:lnTo>
                    <a:pt x="57268" y="80452"/>
                  </a:lnTo>
                  <a:lnTo>
                    <a:pt x="57664" y="81046"/>
                  </a:lnTo>
                  <a:lnTo>
                    <a:pt x="57862" y="81442"/>
                  </a:lnTo>
                  <a:lnTo>
                    <a:pt x="57862" y="81839"/>
                  </a:lnTo>
                  <a:lnTo>
                    <a:pt x="57862" y="81938"/>
                  </a:lnTo>
                  <a:lnTo>
                    <a:pt x="57862" y="82037"/>
                  </a:lnTo>
                  <a:lnTo>
                    <a:pt x="57664" y="82037"/>
                  </a:lnTo>
                  <a:lnTo>
                    <a:pt x="56773" y="81938"/>
                  </a:lnTo>
                  <a:lnTo>
                    <a:pt x="55584" y="81938"/>
                  </a:lnTo>
                  <a:lnTo>
                    <a:pt x="55385" y="81839"/>
                  </a:lnTo>
                  <a:lnTo>
                    <a:pt x="54593" y="81839"/>
                  </a:lnTo>
                  <a:lnTo>
                    <a:pt x="54097" y="81740"/>
                  </a:lnTo>
                  <a:lnTo>
                    <a:pt x="53899" y="81740"/>
                  </a:lnTo>
                  <a:lnTo>
                    <a:pt x="53899" y="81641"/>
                  </a:lnTo>
                  <a:lnTo>
                    <a:pt x="53800" y="81541"/>
                  </a:lnTo>
                  <a:lnTo>
                    <a:pt x="53800" y="81442"/>
                  </a:lnTo>
                  <a:lnTo>
                    <a:pt x="53701" y="81442"/>
                  </a:lnTo>
                  <a:lnTo>
                    <a:pt x="53404" y="81541"/>
                  </a:lnTo>
                  <a:lnTo>
                    <a:pt x="53206" y="81541"/>
                  </a:lnTo>
                  <a:lnTo>
                    <a:pt x="52908" y="81442"/>
                  </a:lnTo>
                  <a:lnTo>
                    <a:pt x="52611" y="81343"/>
                  </a:lnTo>
                  <a:lnTo>
                    <a:pt x="52116" y="81442"/>
                  </a:lnTo>
                  <a:lnTo>
                    <a:pt x="51720" y="81442"/>
                  </a:lnTo>
                  <a:lnTo>
                    <a:pt x="50729" y="81244"/>
                  </a:lnTo>
                  <a:lnTo>
                    <a:pt x="49837" y="81145"/>
                  </a:lnTo>
                  <a:lnTo>
                    <a:pt x="48846" y="81046"/>
                  </a:lnTo>
                  <a:lnTo>
                    <a:pt x="47955" y="81046"/>
                  </a:lnTo>
                  <a:lnTo>
                    <a:pt x="46964" y="80947"/>
                  </a:lnTo>
                  <a:lnTo>
                    <a:pt x="45676" y="80848"/>
                  </a:lnTo>
                  <a:lnTo>
                    <a:pt x="44487" y="80749"/>
                  </a:lnTo>
                  <a:lnTo>
                    <a:pt x="43793" y="80650"/>
                  </a:lnTo>
                  <a:lnTo>
                    <a:pt x="41118" y="80650"/>
                  </a:lnTo>
                  <a:lnTo>
                    <a:pt x="40425" y="80749"/>
                  </a:lnTo>
                  <a:lnTo>
                    <a:pt x="39929" y="80848"/>
                  </a:lnTo>
                  <a:lnTo>
                    <a:pt x="39731" y="80848"/>
                  </a:lnTo>
                  <a:lnTo>
                    <a:pt x="39434" y="80749"/>
                  </a:lnTo>
                  <a:lnTo>
                    <a:pt x="39236" y="80650"/>
                  </a:lnTo>
                  <a:lnTo>
                    <a:pt x="38939" y="80749"/>
                  </a:lnTo>
                  <a:lnTo>
                    <a:pt x="38443" y="80848"/>
                  </a:lnTo>
                  <a:lnTo>
                    <a:pt x="36759" y="80848"/>
                  </a:lnTo>
                  <a:lnTo>
                    <a:pt x="34975" y="81046"/>
                  </a:lnTo>
                  <a:lnTo>
                    <a:pt x="33390" y="81244"/>
                  </a:lnTo>
                  <a:lnTo>
                    <a:pt x="31805" y="81343"/>
                  </a:lnTo>
                  <a:lnTo>
                    <a:pt x="31310" y="81442"/>
                  </a:lnTo>
                  <a:lnTo>
                    <a:pt x="30913" y="81541"/>
                  </a:lnTo>
                  <a:lnTo>
                    <a:pt x="29328" y="81740"/>
                  </a:lnTo>
                  <a:lnTo>
                    <a:pt x="27743" y="81839"/>
                  </a:lnTo>
                  <a:lnTo>
                    <a:pt x="27545" y="81839"/>
                  </a:lnTo>
                  <a:lnTo>
                    <a:pt x="27445" y="81740"/>
                  </a:lnTo>
                  <a:lnTo>
                    <a:pt x="27545" y="81541"/>
                  </a:lnTo>
                  <a:lnTo>
                    <a:pt x="27644" y="81046"/>
                  </a:lnTo>
                  <a:lnTo>
                    <a:pt x="27743" y="80848"/>
                  </a:lnTo>
                  <a:lnTo>
                    <a:pt x="28040" y="80749"/>
                  </a:lnTo>
                  <a:lnTo>
                    <a:pt x="28139" y="80551"/>
                  </a:lnTo>
                  <a:lnTo>
                    <a:pt x="28139" y="80353"/>
                  </a:lnTo>
                  <a:lnTo>
                    <a:pt x="28238" y="80154"/>
                  </a:lnTo>
                  <a:lnTo>
                    <a:pt x="28634" y="80154"/>
                  </a:lnTo>
                  <a:lnTo>
                    <a:pt x="29229" y="80055"/>
                  </a:lnTo>
                  <a:lnTo>
                    <a:pt x="29724" y="79758"/>
                  </a:lnTo>
                  <a:lnTo>
                    <a:pt x="30022" y="79560"/>
                  </a:lnTo>
                  <a:lnTo>
                    <a:pt x="30517" y="79461"/>
                  </a:lnTo>
                  <a:lnTo>
                    <a:pt x="30715" y="79362"/>
                  </a:lnTo>
                  <a:lnTo>
                    <a:pt x="30913" y="79263"/>
                  </a:lnTo>
                  <a:lnTo>
                    <a:pt x="31111" y="78965"/>
                  </a:lnTo>
                  <a:lnTo>
                    <a:pt x="31409" y="78866"/>
                  </a:lnTo>
                  <a:lnTo>
                    <a:pt x="31706" y="78767"/>
                  </a:lnTo>
                  <a:lnTo>
                    <a:pt x="32003" y="78668"/>
                  </a:lnTo>
                  <a:lnTo>
                    <a:pt x="32201" y="78569"/>
                  </a:lnTo>
                  <a:lnTo>
                    <a:pt x="32300" y="78470"/>
                  </a:lnTo>
                  <a:lnTo>
                    <a:pt x="32399" y="78173"/>
                  </a:lnTo>
                  <a:lnTo>
                    <a:pt x="32697" y="78074"/>
                  </a:lnTo>
                  <a:lnTo>
                    <a:pt x="33192" y="78074"/>
                  </a:lnTo>
                  <a:lnTo>
                    <a:pt x="33390" y="77975"/>
                  </a:lnTo>
                  <a:lnTo>
                    <a:pt x="33687" y="77776"/>
                  </a:lnTo>
                  <a:lnTo>
                    <a:pt x="33786" y="77578"/>
                  </a:lnTo>
                  <a:lnTo>
                    <a:pt x="33985" y="77479"/>
                  </a:lnTo>
                  <a:lnTo>
                    <a:pt x="34480" y="77380"/>
                  </a:lnTo>
                  <a:lnTo>
                    <a:pt x="34876" y="77281"/>
                  </a:lnTo>
                  <a:lnTo>
                    <a:pt x="35074" y="76984"/>
                  </a:lnTo>
                  <a:lnTo>
                    <a:pt x="35273" y="76786"/>
                  </a:lnTo>
                  <a:lnTo>
                    <a:pt x="35372" y="76687"/>
                  </a:lnTo>
                  <a:lnTo>
                    <a:pt x="35570" y="76786"/>
                  </a:lnTo>
                  <a:lnTo>
                    <a:pt x="35867" y="76786"/>
                  </a:lnTo>
                  <a:lnTo>
                    <a:pt x="36065" y="76687"/>
                  </a:lnTo>
                  <a:lnTo>
                    <a:pt x="36263" y="76488"/>
                  </a:lnTo>
                  <a:lnTo>
                    <a:pt x="36561" y="76191"/>
                  </a:lnTo>
                  <a:lnTo>
                    <a:pt x="36957" y="75795"/>
                  </a:lnTo>
                  <a:lnTo>
                    <a:pt x="37849" y="75300"/>
                  </a:lnTo>
                  <a:lnTo>
                    <a:pt x="38344" y="74903"/>
                  </a:lnTo>
                  <a:lnTo>
                    <a:pt x="38839" y="74507"/>
                  </a:lnTo>
                  <a:lnTo>
                    <a:pt x="39038" y="73912"/>
                  </a:lnTo>
                  <a:lnTo>
                    <a:pt x="39236" y="73318"/>
                  </a:lnTo>
                  <a:lnTo>
                    <a:pt x="39335" y="72525"/>
                  </a:lnTo>
                  <a:lnTo>
                    <a:pt x="39434" y="71634"/>
                  </a:lnTo>
                  <a:lnTo>
                    <a:pt x="39533" y="70048"/>
                  </a:lnTo>
                  <a:lnTo>
                    <a:pt x="39632" y="69058"/>
                  </a:lnTo>
                  <a:lnTo>
                    <a:pt x="39731" y="68067"/>
                  </a:lnTo>
                  <a:lnTo>
                    <a:pt x="39731" y="66977"/>
                  </a:lnTo>
                  <a:lnTo>
                    <a:pt x="39830" y="65788"/>
                  </a:lnTo>
                  <a:lnTo>
                    <a:pt x="39731" y="64401"/>
                  </a:lnTo>
                  <a:lnTo>
                    <a:pt x="39830" y="63014"/>
                  </a:lnTo>
                  <a:lnTo>
                    <a:pt x="39929" y="61330"/>
                  </a:lnTo>
                  <a:lnTo>
                    <a:pt x="39830" y="59546"/>
                  </a:lnTo>
                  <a:lnTo>
                    <a:pt x="39830" y="57168"/>
                  </a:lnTo>
                  <a:lnTo>
                    <a:pt x="42902" y="57366"/>
                  </a:lnTo>
                  <a:lnTo>
                    <a:pt x="43496" y="57366"/>
                  </a:lnTo>
                  <a:lnTo>
                    <a:pt x="44091" y="57267"/>
                  </a:lnTo>
                  <a:lnTo>
                    <a:pt x="44586" y="57168"/>
                  </a:lnTo>
                  <a:close/>
                  <a:moveTo>
                    <a:pt x="39533" y="81641"/>
                  </a:moveTo>
                  <a:lnTo>
                    <a:pt x="40524" y="81740"/>
                  </a:lnTo>
                  <a:lnTo>
                    <a:pt x="41713" y="81740"/>
                  </a:lnTo>
                  <a:lnTo>
                    <a:pt x="42902" y="81839"/>
                  </a:lnTo>
                  <a:lnTo>
                    <a:pt x="44982" y="81839"/>
                  </a:lnTo>
                  <a:lnTo>
                    <a:pt x="47162" y="82037"/>
                  </a:lnTo>
                  <a:lnTo>
                    <a:pt x="47955" y="82037"/>
                  </a:lnTo>
                  <a:lnTo>
                    <a:pt x="48648" y="82136"/>
                  </a:lnTo>
                  <a:lnTo>
                    <a:pt x="49243" y="82136"/>
                  </a:lnTo>
                  <a:lnTo>
                    <a:pt x="49837" y="82235"/>
                  </a:lnTo>
                  <a:lnTo>
                    <a:pt x="50531" y="82334"/>
                  </a:lnTo>
                  <a:lnTo>
                    <a:pt x="51521" y="82433"/>
                  </a:lnTo>
                  <a:lnTo>
                    <a:pt x="52710" y="82532"/>
                  </a:lnTo>
                  <a:lnTo>
                    <a:pt x="53701" y="82730"/>
                  </a:lnTo>
                  <a:lnTo>
                    <a:pt x="54791" y="82829"/>
                  </a:lnTo>
                  <a:lnTo>
                    <a:pt x="55881" y="82929"/>
                  </a:lnTo>
                  <a:lnTo>
                    <a:pt x="57070" y="83127"/>
                  </a:lnTo>
                  <a:lnTo>
                    <a:pt x="58061" y="83325"/>
                  </a:lnTo>
                  <a:lnTo>
                    <a:pt x="59051" y="83523"/>
                  </a:lnTo>
                  <a:lnTo>
                    <a:pt x="61033" y="83919"/>
                  </a:lnTo>
                  <a:lnTo>
                    <a:pt x="61231" y="84018"/>
                  </a:lnTo>
                  <a:lnTo>
                    <a:pt x="61429" y="84117"/>
                  </a:lnTo>
                  <a:lnTo>
                    <a:pt x="61627" y="84316"/>
                  </a:lnTo>
                  <a:lnTo>
                    <a:pt x="61627" y="84514"/>
                  </a:lnTo>
                  <a:lnTo>
                    <a:pt x="61726" y="85406"/>
                  </a:lnTo>
                  <a:lnTo>
                    <a:pt x="61825" y="86297"/>
                  </a:lnTo>
                  <a:lnTo>
                    <a:pt x="61925" y="87189"/>
                  </a:lnTo>
                  <a:lnTo>
                    <a:pt x="62024" y="88081"/>
                  </a:lnTo>
                  <a:lnTo>
                    <a:pt x="62123" y="88279"/>
                  </a:lnTo>
                  <a:lnTo>
                    <a:pt x="62024" y="88378"/>
                  </a:lnTo>
                  <a:lnTo>
                    <a:pt x="61925" y="88378"/>
                  </a:lnTo>
                  <a:lnTo>
                    <a:pt x="61231" y="88279"/>
                  </a:lnTo>
                  <a:lnTo>
                    <a:pt x="60637" y="88180"/>
                  </a:lnTo>
                  <a:lnTo>
                    <a:pt x="60042" y="88081"/>
                  </a:lnTo>
                  <a:lnTo>
                    <a:pt x="59448" y="87982"/>
                  </a:lnTo>
                  <a:lnTo>
                    <a:pt x="58259" y="87882"/>
                  </a:lnTo>
                  <a:lnTo>
                    <a:pt x="56079" y="87684"/>
                  </a:lnTo>
                  <a:lnTo>
                    <a:pt x="54989" y="87486"/>
                  </a:lnTo>
                  <a:lnTo>
                    <a:pt x="53899" y="87387"/>
                  </a:lnTo>
                  <a:lnTo>
                    <a:pt x="52413" y="87288"/>
                  </a:lnTo>
                  <a:lnTo>
                    <a:pt x="50828" y="87189"/>
                  </a:lnTo>
                  <a:lnTo>
                    <a:pt x="48351" y="86991"/>
                  </a:lnTo>
                  <a:lnTo>
                    <a:pt x="45874" y="86892"/>
                  </a:lnTo>
                  <a:lnTo>
                    <a:pt x="41812" y="86892"/>
                  </a:lnTo>
                  <a:lnTo>
                    <a:pt x="40227" y="86991"/>
                  </a:lnTo>
                  <a:lnTo>
                    <a:pt x="38740" y="86991"/>
                  </a:lnTo>
                  <a:lnTo>
                    <a:pt x="35174" y="87288"/>
                  </a:lnTo>
                  <a:lnTo>
                    <a:pt x="34084" y="87387"/>
                  </a:lnTo>
                  <a:lnTo>
                    <a:pt x="33093" y="87486"/>
                  </a:lnTo>
                  <a:lnTo>
                    <a:pt x="32003" y="87585"/>
                  </a:lnTo>
                  <a:lnTo>
                    <a:pt x="31012" y="87684"/>
                  </a:lnTo>
                  <a:lnTo>
                    <a:pt x="30022" y="87783"/>
                  </a:lnTo>
                  <a:lnTo>
                    <a:pt x="29031" y="87982"/>
                  </a:lnTo>
                  <a:lnTo>
                    <a:pt x="27247" y="88081"/>
                  </a:lnTo>
                  <a:lnTo>
                    <a:pt x="26058" y="88180"/>
                  </a:lnTo>
                  <a:lnTo>
                    <a:pt x="24869" y="88279"/>
                  </a:lnTo>
                  <a:lnTo>
                    <a:pt x="24473" y="88279"/>
                  </a:lnTo>
                  <a:lnTo>
                    <a:pt x="24176" y="88378"/>
                  </a:lnTo>
                  <a:lnTo>
                    <a:pt x="23681" y="88576"/>
                  </a:lnTo>
                  <a:lnTo>
                    <a:pt x="23284" y="88675"/>
                  </a:lnTo>
                  <a:lnTo>
                    <a:pt x="23284" y="88477"/>
                  </a:lnTo>
                  <a:lnTo>
                    <a:pt x="23185" y="88279"/>
                  </a:lnTo>
                  <a:lnTo>
                    <a:pt x="23185" y="87982"/>
                  </a:lnTo>
                  <a:lnTo>
                    <a:pt x="23185" y="87684"/>
                  </a:lnTo>
                  <a:lnTo>
                    <a:pt x="23482" y="85108"/>
                  </a:lnTo>
                  <a:lnTo>
                    <a:pt x="23581" y="84613"/>
                  </a:lnTo>
                  <a:lnTo>
                    <a:pt x="23681" y="84217"/>
                  </a:lnTo>
                  <a:lnTo>
                    <a:pt x="23978" y="83919"/>
                  </a:lnTo>
                  <a:lnTo>
                    <a:pt x="24374" y="83721"/>
                  </a:lnTo>
                  <a:lnTo>
                    <a:pt x="26356" y="83226"/>
                  </a:lnTo>
                  <a:lnTo>
                    <a:pt x="27545" y="82929"/>
                  </a:lnTo>
                  <a:lnTo>
                    <a:pt x="28833" y="82730"/>
                  </a:lnTo>
                  <a:lnTo>
                    <a:pt x="31310" y="82334"/>
                  </a:lnTo>
                  <a:lnTo>
                    <a:pt x="33985" y="82037"/>
                  </a:lnTo>
                  <a:lnTo>
                    <a:pt x="36759" y="81839"/>
                  </a:lnTo>
                  <a:lnTo>
                    <a:pt x="37651" y="81740"/>
                  </a:lnTo>
                  <a:lnTo>
                    <a:pt x="38542" y="81740"/>
                  </a:lnTo>
                  <a:lnTo>
                    <a:pt x="39533" y="81641"/>
                  </a:lnTo>
                  <a:close/>
                  <a:moveTo>
                    <a:pt x="46865" y="88081"/>
                  </a:moveTo>
                  <a:lnTo>
                    <a:pt x="48153" y="88180"/>
                  </a:lnTo>
                  <a:lnTo>
                    <a:pt x="49540" y="88180"/>
                  </a:lnTo>
                  <a:lnTo>
                    <a:pt x="50729" y="88279"/>
                  </a:lnTo>
                  <a:lnTo>
                    <a:pt x="52017" y="88378"/>
                  </a:lnTo>
                  <a:lnTo>
                    <a:pt x="53008" y="88477"/>
                  </a:lnTo>
                  <a:lnTo>
                    <a:pt x="53602" y="88477"/>
                  </a:lnTo>
                  <a:lnTo>
                    <a:pt x="54097" y="88378"/>
                  </a:lnTo>
                  <a:lnTo>
                    <a:pt x="54692" y="88378"/>
                  </a:lnTo>
                  <a:lnTo>
                    <a:pt x="55187" y="88477"/>
                  </a:lnTo>
                  <a:lnTo>
                    <a:pt x="56277" y="88675"/>
                  </a:lnTo>
                  <a:lnTo>
                    <a:pt x="56475" y="88675"/>
                  </a:lnTo>
                  <a:lnTo>
                    <a:pt x="56574" y="88576"/>
                  </a:lnTo>
                  <a:lnTo>
                    <a:pt x="56773" y="88477"/>
                  </a:lnTo>
                  <a:lnTo>
                    <a:pt x="56872" y="88477"/>
                  </a:lnTo>
                  <a:lnTo>
                    <a:pt x="56872" y="88675"/>
                  </a:lnTo>
                  <a:lnTo>
                    <a:pt x="56872" y="88774"/>
                  </a:lnTo>
                  <a:lnTo>
                    <a:pt x="56971" y="88774"/>
                  </a:lnTo>
                  <a:lnTo>
                    <a:pt x="57367" y="88873"/>
                  </a:lnTo>
                  <a:lnTo>
                    <a:pt x="57565" y="88873"/>
                  </a:lnTo>
                  <a:lnTo>
                    <a:pt x="57763" y="88774"/>
                  </a:lnTo>
                  <a:lnTo>
                    <a:pt x="57961" y="88675"/>
                  </a:lnTo>
                  <a:lnTo>
                    <a:pt x="58061" y="88675"/>
                  </a:lnTo>
                  <a:lnTo>
                    <a:pt x="58160" y="88774"/>
                  </a:lnTo>
                  <a:lnTo>
                    <a:pt x="58457" y="88972"/>
                  </a:lnTo>
                  <a:lnTo>
                    <a:pt x="58655" y="88972"/>
                  </a:lnTo>
                  <a:lnTo>
                    <a:pt x="59150" y="88774"/>
                  </a:lnTo>
                  <a:lnTo>
                    <a:pt x="59349" y="88774"/>
                  </a:lnTo>
                  <a:lnTo>
                    <a:pt x="59349" y="88873"/>
                  </a:lnTo>
                  <a:lnTo>
                    <a:pt x="59349" y="88972"/>
                  </a:lnTo>
                  <a:lnTo>
                    <a:pt x="59646" y="89071"/>
                  </a:lnTo>
                  <a:lnTo>
                    <a:pt x="59844" y="89071"/>
                  </a:lnTo>
                  <a:lnTo>
                    <a:pt x="60042" y="88972"/>
                  </a:lnTo>
                  <a:lnTo>
                    <a:pt x="60141" y="88873"/>
                  </a:lnTo>
                  <a:lnTo>
                    <a:pt x="60339" y="89071"/>
                  </a:lnTo>
                  <a:lnTo>
                    <a:pt x="60438" y="89170"/>
                  </a:lnTo>
                  <a:lnTo>
                    <a:pt x="60736" y="89071"/>
                  </a:lnTo>
                  <a:lnTo>
                    <a:pt x="60934" y="89170"/>
                  </a:lnTo>
                  <a:lnTo>
                    <a:pt x="61231" y="89270"/>
                  </a:lnTo>
                  <a:lnTo>
                    <a:pt x="61429" y="89270"/>
                  </a:lnTo>
                  <a:lnTo>
                    <a:pt x="61825" y="89170"/>
                  </a:lnTo>
                  <a:lnTo>
                    <a:pt x="62024" y="89170"/>
                  </a:lnTo>
                  <a:lnTo>
                    <a:pt x="62222" y="89270"/>
                  </a:lnTo>
                  <a:lnTo>
                    <a:pt x="62519" y="89468"/>
                  </a:lnTo>
                  <a:lnTo>
                    <a:pt x="63510" y="89468"/>
                  </a:lnTo>
                  <a:lnTo>
                    <a:pt x="64203" y="89567"/>
                  </a:lnTo>
                  <a:lnTo>
                    <a:pt x="64798" y="89765"/>
                  </a:lnTo>
                  <a:lnTo>
                    <a:pt x="65491" y="89864"/>
                  </a:lnTo>
                  <a:lnTo>
                    <a:pt x="66284" y="89864"/>
                  </a:lnTo>
                  <a:lnTo>
                    <a:pt x="66482" y="89963"/>
                  </a:lnTo>
                  <a:lnTo>
                    <a:pt x="66581" y="90062"/>
                  </a:lnTo>
                  <a:lnTo>
                    <a:pt x="66779" y="90062"/>
                  </a:lnTo>
                  <a:lnTo>
                    <a:pt x="67671" y="90161"/>
                  </a:lnTo>
                  <a:lnTo>
                    <a:pt x="68464" y="90260"/>
                  </a:lnTo>
                  <a:lnTo>
                    <a:pt x="68761" y="90359"/>
                  </a:lnTo>
                  <a:lnTo>
                    <a:pt x="68860" y="90458"/>
                  </a:lnTo>
                  <a:lnTo>
                    <a:pt x="68761" y="90657"/>
                  </a:lnTo>
                  <a:lnTo>
                    <a:pt x="68563" y="91053"/>
                  </a:lnTo>
                  <a:lnTo>
                    <a:pt x="68563" y="91548"/>
                  </a:lnTo>
                  <a:lnTo>
                    <a:pt x="68563" y="92539"/>
                  </a:lnTo>
                  <a:lnTo>
                    <a:pt x="68563" y="93629"/>
                  </a:lnTo>
                  <a:lnTo>
                    <a:pt x="68464" y="94719"/>
                  </a:lnTo>
                  <a:lnTo>
                    <a:pt x="68464" y="96205"/>
                  </a:lnTo>
                  <a:lnTo>
                    <a:pt x="68464" y="97691"/>
                  </a:lnTo>
                  <a:lnTo>
                    <a:pt x="68464" y="100267"/>
                  </a:lnTo>
                  <a:lnTo>
                    <a:pt x="68563" y="101456"/>
                  </a:lnTo>
                  <a:lnTo>
                    <a:pt x="68563" y="101952"/>
                  </a:lnTo>
                  <a:lnTo>
                    <a:pt x="68563" y="102546"/>
                  </a:lnTo>
                  <a:lnTo>
                    <a:pt x="68464" y="103240"/>
                  </a:lnTo>
                  <a:lnTo>
                    <a:pt x="68563" y="103933"/>
                  </a:lnTo>
                  <a:lnTo>
                    <a:pt x="68563" y="104726"/>
                  </a:lnTo>
                  <a:lnTo>
                    <a:pt x="68563" y="105518"/>
                  </a:lnTo>
                  <a:lnTo>
                    <a:pt x="68563" y="106311"/>
                  </a:lnTo>
                  <a:lnTo>
                    <a:pt x="68563" y="107104"/>
                  </a:lnTo>
                  <a:lnTo>
                    <a:pt x="68563" y="109382"/>
                  </a:lnTo>
                  <a:lnTo>
                    <a:pt x="68563" y="111958"/>
                  </a:lnTo>
                  <a:lnTo>
                    <a:pt x="68563" y="113246"/>
                  </a:lnTo>
                  <a:lnTo>
                    <a:pt x="68563" y="114435"/>
                  </a:lnTo>
                  <a:lnTo>
                    <a:pt x="68563" y="114733"/>
                  </a:lnTo>
                  <a:lnTo>
                    <a:pt x="68464" y="114832"/>
                  </a:lnTo>
                  <a:lnTo>
                    <a:pt x="68266" y="114832"/>
                  </a:lnTo>
                  <a:lnTo>
                    <a:pt x="66878" y="114733"/>
                  </a:lnTo>
                  <a:lnTo>
                    <a:pt x="65392" y="114634"/>
                  </a:lnTo>
                  <a:lnTo>
                    <a:pt x="63411" y="114435"/>
                  </a:lnTo>
                  <a:lnTo>
                    <a:pt x="61330" y="114435"/>
                  </a:lnTo>
                  <a:lnTo>
                    <a:pt x="60339" y="114336"/>
                  </a:lnTo>
                  <a:lnTo>
                    <a:pt x="59448" y="114237"/>
                  </a:lnTo>
                  <a:lnTo>
                    <a:pt x="58259" y="114138"/>
                  </a:lnTo>
                  <a:lnTo>
                    <a:pt x="56971" y="114237"/>
                  </a:lnTo>
                  <a:lnTo>
                    <a:pt x="55187" y="114237"/>
                  </a:lnTo>
                  <a:lnTo>
                    <a:pt x="54196" y="114138"/>
                  </a:lnTo>
                  <a:lnTo>
                    <a:pt x="51224" y="114138"/>
                  </a:lnTo>
                  <a:lnTo>
                    <a:pt x="49441" y="114039"/>
                  </a:lnTo>
                  <a:lnTo>
                    <a:pt x="32300" y="114039"/>
                  </a:lnTo>
                  <a:lnTo>
                    <a:pt x="30418" y="114138"/>
                  </a:lnTo>
                  <a:lnTo>
                    <a:pt x="28436" y="114237"/>
                  </a:lnTo>
                  <a:lnTo>
                    <a:pt x="24374" y="114237"/>
                  </a:lnTo>
                  <a:lnTo>
                    <a:pt x="22393" y="114336"/>
                  </a:lnTo>
                  <a:lnTo>
                    <a:pt x="20312" y="114435"/>
                  </a:lnTo>
                  <a:lnTo>
                    <a:pt x="19222" y="114435"/>
                  </a:lnTo>
                  <a:lnTo>
                    <a:pt x="18925" y="114534"/>
                  </a:lnTo>
                  <a:lnTo>
                    <a:pt x="18528" y="114634"/>
                  </a:lnTo>
                  <a:lnTo>
                    <a:pt x="18231" y="114634"/>
                  </a:lnTo>
                  <a:lnTo>
                    <a:pt x="17439" y="114733"/>
                  </a:lnTo>
                  <a:lnTo>
                    <a:pt x="17141" y="114634"/>
                  </a:lnTo>
                  <a:lnTo>
                    <a:pt x="16943" y="114634"/>
                  </a:lnTo>
                  <a:lnTo>
                    <a:pt x="16745" y="114733"/>
                  </a:lnTo>
                  <a:lnTo>
                    <a:pt x="16745" y="114733"/>
                  </a:lnTo>
                  <a:lnTo>
                    <a:pt x="16844" y="113742"/>
                  </a:lnTo>
                  <a:lnTo>
                    <a:pt x="16844" y="113147"/>
                  </a:lnTo>
                  <a:lnTo>
                    <a:pt x="16646" y="112652"/>
                  </a:lnTo>
                  <a:lnTo>
                    <a:pt x="16646" y="112454"/>
                  </a:lnTo>
                  <a:lnTo>
                    <a:pt x="16646" y="112157"/>
                  </a:lnTo>
                  <a:lnTo>
                    <a:pt x="16745" y="111562"/>
                  </a:lnTo>
                  <a:lnTo>
                    <a:pt x="16844" y="110968"/>
                  </a:lnTo>
                  <a:lnTo>
                    <a:pt x="16745" y="110373"/>
                  </a:lnTo>
                  <a:lnTo>
                    <a:pt x="16844" y="109779"/>
                  </a:lnTo>
                  <a:lnTo>
                    <a:pt x="16844" y="109581"/>
                  </a:lnTo>
                  <a:lnTo>
                    <a:pt x="16745" y="109283"/>
                  </a:lnTo>
                  <a:lnTo>
                    <a:pt x="16646" y="109085"/>
                  </a:lnTo>
                  <a:lnTo>
                    <a:pt x="16745" y="108887"/>
                  </a:lnTo>
                  <a:lnTo>
                    <a:pt x="16844" y="108491"/>
                  </a:lnTo>
                  <a:lnTo>
                    <a:pt x="16844" y="108193"/>
                  </a:lnTo>
                  <a:lnTo>
                    <a:pt x="16844" y="107401"/>
                  </a:lnTo>
                  <a:lnTo>
                    <a:pt x="16943" y="106806"/>
                  </a:lnTo>
                  <a:lnTo>
                    <a:pt x="16844" y="106212"/>
                  </a:lnTo>
                  <a:lnTo>
                    <a:pt x="16844" y="105419"/>
                  </a:lnTo>
                  <a:lnTo>
                    <a:pt x="16844" y="104726"/>
                  </a:lnTo>
                  <a:lnTo>
                    <a:pt x="16844" y="103735"/>
                  </a:lnTo>
                  <a:lnTo>
                    <a:pt x="16844" y="102744"/>
                  </a:lnTo>
                  <a:lnTo>
                    <a:pt x="16844" y="102249"/>
                  </a:lnTo>
                  <a:lnTo>
                    <a:pt x="16844" y="101654"/>
                  </a:lnTo>
                  <a:lnTo>
                    <a:pt x="16943" y="101159"/>
                  </a:lnTo>
                  <a:lnTo>
                    <a:pt x="16943" y="100664"/>
                  </a:lnTo>
                  <a:lnTo>
                    <a:pt x="16844" y="100168"/>
                  </a:lnTo>
                  <a:lnTo>
                    <a:pt x="16844" y="99772"/>
                  </a:lnTo>
                  <a:lnTo>
                    <a:pt x="16943" y="99276"/>
                  </a:lnTo>
                  <a:lnTo>
                    <a:pt x="16844" y="98880"/>
                  </a:lnTo>
                  <a:lnTo>
                    <a:pt x="16844" y="98583"/>
                  </a:lnTo>
                  <a:lnTo>
                    <a:pt x="16943" y="98385"/>
                  </a:lnTo>
                  <a:lnTo>
                    <a:pt x="16943" y="98187"/>
                  </a:lnTo>
                  <a:lnTo>
                    <a:pt x="16844" y="97988"/>
                  </a:lnTo>
                  <a:lnTo>
                    <a:pt x="16943" y="97889"/>
                  </a:lnTo>
                  <a:lnTo>
                    <a:pt x="16943" y="97790"/>
                  </a:lnTo>
                  <a:lnTo>
                    <a:pt x="16943" y="97493"/>
                  </a:lnTo>
                  <a:lnTo>
                    <a:pt x="16844" y="97295"/>
                  </a:lnTo>
                  <a:lnTo>
                    <a:pt x="16844" y="97196"/>
                  </a:lnTo>
                  <a:lnTo>
                    <a:pt x="16844" y="96998"/>
                  </a:lnTo>
                  <a:lnTo>
                    <a:pt x="16943" y="96700"/>
                  </a:lnTo>
                  <a:lnTo>
                    <a:pt x="16943" y="96403"/>
                  </a:lnTo>
                  <a:lnTo>
                    <a:pt x="16844" y="95809"/>
                  </a:lnTo>
                  <a:lnTo>
                    <a:pt x="16943" y="95313"/>
                  </a:lnTo>
                  <a:lnTo>
                    <a:pt x="16943" y="95016"/>
                  </a:lnTo>
                  <a:lnTo>
                    <a:pt x="16745" y="94818"/>
                  </a:lnTo>
                  <a:lnTo>
                    <a:pt x="16745" y="94719"/>
                  </a:lnTo>
                  <a:lnTo>
                    <a:pt x="16844" y="94025"/>
                  </a:lnTo>
                  <a:lnTo>
                    <a:pt x="16844" y="93431"/>
                  </a:lnTo>
                  <a:lnTo>
                    <a:pt x="16646" y="92143"/>
                  </a:lnTo>
                  <a:lnTo>
                    <a:pt x="16646" y="91350"/>
                  </a:lnTo>
                  <a:lnTo>
                    <a:pt x="16646" y="91053"/>
                  </a:lnTo>
                  <a:lnTo>
                    <a:pt x="16646" y="90657"/>
                  </a:lnTo>
                  <a:lnTo>
                    <a:pt x="16646" y="90458"/>
                  </a:lnTo>
                  <a:lnTo>
                    <a:pt x="16844" y="90359"/>
                  </a:lnTo>
                  <a:lnTo>
                    <a:pt x="17736" y="90359"/>
                  </a:lnTo>
                  <a:lnTo>
                    <a:pt x="18628" y="90161"/>
                  </a:lnTo>
                  <a:lnTo>
                    <a:pt x="20411" y="89765"/>
                  </a:lnTo>
                  <a:lnTo>
                    <a:pt x="21600" y="89666"/>
                  </a:lnTo>
                  <a:lnTo>
                    <a:pt x="22789" y="89468"/>
                  </a:lnTo>
                  <a:lnTo>
                    <a:pt x="22987" y="89468"/>
                  </a:lnTo>
                  <a:lnTo>
                    <a:pt x="23482" y="89369"/>
                  </a:lnTo>
                  <a:lnTo>
                    <a:pt x="24077" y="89270"/>
                  </a:lnTo>
                  <a:lnTo>
                    <a:pt x="24770" y="89170"/>
                  </a:lnTo>
                  <a:lnTo>
                    <a:pt x="26058" y="89071"/>
                  </a:lnTo>
                  <a:lnTo>
                    <a:pt x="26752" y="89071"/>
                  </a:lnTo>
                  <a:lnTo>
                    <a:pt x="27445" y="88972"/>
                  </a:lnTo>
                  <a:lnTo>
                    <a:pt x="28139" y="88873"/>
                  </a:lnTo>
                  <a:lnTo>
                    <a:pt x="28734" y="88873"/>
                  </a:lnTo>
                  <a:lnTo>
                    <a:pt x="29328" y="88774"/>
                  </a:lnTo>
                  <a:lnTo>
                    <a:pt x="29922" y="88675"/>
                  </a:lnTo>
                  <a:lnTo>
                    <a:pt x="30616" y="88576"/>
                  </a:lnTo>
                  <a:lnTo>
                    <a:pt x="32598" y="88576"/>
                  </a:lnTo>
                  <a:lnTo>
                    <a:pt x="33886" y="88477"/>
                  </a:lnTo>
                  <a:lnTo>
                    <a:pt x="35174" y="88378"/>
                  </a:lnTo>
                  <a:lnTo>
                    <a:pt x="36164" y="88378"/>
                  </a:lnTo>
                  <a:lnTo>
                    <a:pt x="36759" y="88279"/>
                  </a:lnTo>
                  <a:lnTo>
                    <a:pt x="37254" y="88180"/>
                  </a:lnTo>
                  <a:lnTo>
                    <a:pt x="37849" y="88081"/>
                  </a:lnTo>
                  <a:lnTo>
                    <a:pt x="38344" y="88081"/>
                  </a:lnTo>
                  <a:lnTo>
                    <a:pt x="39533" y="88180"/>
                  </a:lnTo>
                  <a:lnTo>
                    <a:pt x="41118" y="88081"/>
                  </a:lnTo>
                  <a:close/>
                  <a:moveTo>
                    <a:pt x="2082" y="0"/>
                  </a:moveTo>
                  <a:lnTo>
                    <a:pt x="1685" y="99"/>
                  </a:lnTo>
                  <a:lnTo>
                    <a:pt x="1091" y="397"/>
                  </a:lnTo>
                  <a:lnTo>
                    <a:pt x="794" y="595"/>
                  </a:lnTo>
                  <a:lnTo>
                    <a:pt x="595" y="991"/>
                  </a:lnTo>
                  <a:lnTo>
                    <a:pt x="397" y="1685"/>
                  </a:lnTo>
                  <a:lnTo>
                    <a:pt x="298" y="2378"/>
                  </a:lnTo>
                  <a:lnTo>
                    <a:pt x="100" y="4360"/>
                  </a:lnTo>
                  <a:lnTo>
                    <a:pt x="1" y="6242"/>
                  </a:lnTo>
                  <a:lnTo>
                    <a:pt x="1" y="7035"/>
                  </a:lnTo>
                  <a:lnTo>
                    <a:pt x="100" y="7926"/>
                  </a:lnTo>
                  <a:lnTo>
                    <a:pt x="298" y="9512"/>
                  </a:lnTo>
                  <a:lnTo>
                    <a:pt x="496" y="10998"/>
                  </a:lnTo>
                  <a:lnTo>
                    <a:pt x="893" y="12583"/>
                  </a:lnTo>
                  <a:lnTo>
                    <a:pt x="1091" y="13475"/>
                  </a:lnTo>
                  <a:lnTo>
                    <a:pt x="1487" y="14267"/>
                  </a:lnTo>
                  <a:lnTo>
                    <a:pt x="2082" y="16051"/>
                  </a:lnTo>
                  <a:lnTo>
                    <a:pt x="2478" y="17042"/>
                  </a:lnTo>
                  <a:lnTo>
                    <a:pt x="2874" y="18032"/>
                  </a:lnTo>
                  <a:lnTo>
                    <a:pt x="2973" y="18528"/>
                  </a:lnTo>
                  <a:lnTo>
                    <a:pt x="3072" y="18825"/>
                  </a:lnTo>
                  <a:lnTo>
                    <a:pt x="3271" y="19122"/>
                  </a:lnTo>
                  <a:lnTo>
                    <a:pt x="3568" y="19717"/>
                  </a:lnTo>
                  <a:lnTo>
                    <a:pt x="3865" y="20311"/>
                  </a:lnTo>
                  <a:lnTo>
                    <a:pt x="4459" y="21500"/>
                  </a:lnTo>
                  <a:lnTo>
                    <a:pt x="5153" y="22887"/>
                  </a:lnTo>
                  <a:lnTo>
                    <a:pt x="5847" y="24175"/>
                  </a:lnTo>
                  <a:lnTo>
                    <a:pt x="6639" y="25364"/>
                  </a:lnTo>
                  <a:lnTo>
                    <a:pt x="7531" y="26553"/>
                  </a:lnTo>
                  <a:lnTo>
                    <a:pt x="8323" y="27643"/>
                  </a:lnTo>
                  <a:lnTo>
                    <a:pt x="9215" y="28733"/>
                  </a:lnTo>
                  <a:lnTo>
                    <a:pt x="9711" y="29228"/>
                  </a:lnTo>
                  <a:lnTo>
                    <a:pt x="10107" y="29823"/>
                  </a:lnTo>
                  <a:lnTo>
                    <a:pt x="10602" y="30417"/>
                  </a:lnTo>
                  <a:lnTo>
                    <a:pt x="11098" y="30913"/>
                  </a:lnTo>
                  <a:lnTo>
                    <a:pt x="11593" y="31309"/>
                  </a:lnTo>
                  <a:lnTo>
                    <a:pt x="11989" y="31705"/>
                  </a:lnTo>
                  <a:lnTo>
                    <a:pt x="12386" y="32102"/>
                  </a:lnTo>
                  <a:lnTo>
                    <a:pt x="12782" y="32399"/>
                  </a:lnTo>
                  <a:lnTo>
                    <a:pt x="13277" y="32795"/>
                  </a:lnTo>
                  <a:lnTo>
                    <a:pt x="13773" y="33290"/>
                  </a:lnTo>
                  <a:lnTo>
                    <a:pt x="14169" y="33687"/>
                  </a:lnTo>
                  <a:lnTo>
                    <a:pt x="14664" y="34182"/>
                  </a:lnTo>
                  <a:lnTo>
                    <a:pt x="16052" y="35272"/>
                  </a:lnTo>
                  <a:lnTo>
                    <a:pt x="16745" y="35767"/>
                  </a:lnTo>
                  <a:lnTo>
                    <a:pt x="17439" y="36164"/>
                  </a:lnTo>
                  <a:lnTo>
                    <a:pt x="17637" y="36362"/>
                  </a:lnTo>
                  <a:lnTo>
                    <a:pt x="17736" y="36659"/>
                  </a:lnTo>
                  <a:lnTo>
                    <a:pt x="18033" y="37650"/>
                  </a:lnTo>
                  <a:lnTo>
                    <a:pt x="18231" y="38641"/>
                  </a:lnTo>
                  <a:lnTo>
                    <a:pt x="18429" y="39731"/>
                  </a:lnTo>
                  <a:lnTo>
                    <a:pt x="18826" y="40919"/>
                  </a:lnTo>
                  <a:lnTo>
                    <a:pt x="19321" y="41910"/>
                  </a:lnTo>
                  <a:lnTo>
                    <a:pt x="19916" y="43000"/>
                  </a:lnTo>
                  <a:lnTo>
                    <a:pt x="20213" y="43595"/>
                  </a:lnTo>
                  <a:lnTo>
                    <a:pt x="20411" y="43793"/>
                  </a:lnTo>
                  <a:lnTo>
                    <a:pt x="20609" y="43991"/>
                  </a:lnTo>
                  <a:lnTo>
                    <a:pt x="21005" y="44189"/>
                  </a:lnTo>
                  <a:lnTo>
                    <a:pt x="21303" y="44486"/>
                  </a:lnTo>
                  <a:lnTo>
                    <a:pt x="21600" y="44784"/>
                  </a:lnTo>
                  <a:lnTo>
                    <a:pt x="21798" y="44982"/>
                  </a:lnTo>
                  <a:lnTo>
                    <a:pt x="22293" y="45477"/>
                  </a:lnTo>
                  <a:lnTo>
                    <a:pt x="22888" y="45873"/>
                  </a:lnTo>
                  <a:lnTo>
                    <a:pt x="23780" y="46468"/>
                  </a:lnTo>
                  <a:lnTo>
                    <a:pt x="24671" y="46963"/>
                  </a:lnTo>
                  <a:lnTo>
                    <a:pt x="27346" y="48053"/>
                  </a:lnTo>
                  <a:lnTo>
                    <a:pt x="28634" y="48548"/>
                  </a:lnTo>
                  <a:lnTo>
                    <a:pt x="30022" y="48945"/>
                  </a:lnTo>
                  <a:lnTo>
                    <a:pt x="31111" y="49341"/>
                  </a:lnTo>
                  <a:lnTo>
                    <a:pt x="32300" y="49638"/>
                  </a:lnTo>
                  <a:lnTo>
                    <a:pt x="33390" y="49836"/>
                  </a:lnTo>
                  <a:lnTo>
                    <a:pt x="34480" y="50035"/>
                  </a:lnTo>
                  <a:lnTo>
                    <a:pt x="35570" y="50332"/>
                  </a:lnTo>
                  <a:lnTo>
                    <a:pt x="35867" y="50332"/>
                  </a:lnTo>
                  <a:lnTo>
                    <a:pt x="36065" y="50431"/>
                  </a:lnTo>
                  <a:lnTo>
                    <a:pt x="36065" y="50629"/>
                  </a:lnTo>
                  <a:lnTo>
                    <a:pt x="36164" y="51125"/>
                  </a:lnTo>
                  <a:lnTo>
                    <a:pt x="36164" y="51620"/>
                  </a:lnTo>
                  <a:lnTo>
                    <a:pt x="36164" y="52016"/>
                  </a:lnTo>
                  <a:lnTo>
                    <a:pt x="36164" y="52313"/>
                  </a:lnTo>
                  <a:lnTo>
                    <a:pt x="36362" y="52908"/>
                  </a:lnTo>
                  <a:lnTo>
                    <a:pt x="36660" y="53403"/>
                  </a:lnTo>
                  <a:lnTo>
                    <a:pt x="36759" y="53998"/>
                  </a:lnTo>
                  <a:lnTo>
                    <a:pt x="36759" y="54196"/>
                  </a:lnTo>
                  <a:lnTo>
                    <a:pt x="36858" y="54493"/>
                  </a:lnTo>
                  <a:lnTo>
                    <a:pt x="36957" y="54691"/>
                  </a:lnTo>
                  <a:lnTo>
                    <a:pt x="37056" y="54989"/>
                  </a:lnTo>
                  <a:lnTo>
                    <a:pt x="37254" y="55682"/>
                  </a:lnTo>
                  <a:lnTo>
                    <a:pt x="37452" y="56376"/>
                  </a:lnTo>
                  <a:lnTo>
                    <a:pt x="37651" y="56772"/>
                  </a:lnTo>
                  <a:lnTo>
                    <a:pt x="37948" y="56970"/>
                  </a:lnTo>
                  <a:lnTo>
                    <a:pt x="38344" y="57168"/>
                  </a:lnTo>
                  <a:lnTo>
                    <a:pt x="38740" y="57168"/>
                  </a:lnTo>
                  <a:lnTo>
                    <a:pt x="39137" y="57267"/>
                  </a:lnTo>
                  <a:lnTo>
                    <a:pt x="39236" y="57366"/>
                  </a:lnTo>
                  <a:lnTo>
                    <a:pt x="39236" y="57565"/>
                  </a:lnTo>
                  <a:lnTo>
                    <a:pt x="39137" y="57862"/>
                  </a:lnTo>
                  <a:lnTo>
                    <a:pt x="39137" y="58258"/>
                  </a:lnTo>
                  <a:lnTo>
                    <a:pt x="39038" y="59150"/>
                  </a:lnTo>
                  <a:lnTo>
                    <a:pt x="39038" y="59942"/>
                  </a:lnTo>
                  <a:lnTo>
                    <a:pt x="39137" y="60834"/>
                  </a:lnTo>
                  <a:lnTo>
                    <a:pt x="39038" y="61726"/>
                  </a:lnTo>
                  <a:lnTo>
                    <a:pt x="39038" y="62915"/>
                  </a:lnTo>
                  <a:lnTo>
                    <a:pt x="38939" y="63608"/>
                  </a:lnTo>
                  <a:lnTo>
                    <a:pt x="38839" y="64203"/>
                  </a:lnTo>
                  <a:lnTo>
                    <a:pt x="38839" y="64500"/>
                  </a:lnTo>
                  <a:lnTo>
                    <a:pt x="38839" y="64896"/>
                  </a:lnTo>
                  <a:lnTo>
                    <a:pt x="38939" y="65689"/>
                  </a:lnTo>
                  <a:lnTo>
                    <a:pt x="38839" y="66581"/>
                  </a:lnTo>
                  <a:lnTo>
                    <a:pt x="38740" y="67373"/>
                  </a:lnTo>
                  <a:lnTo>
                    <a:pt x="38740" y="68265"/>
                  </a:lnTo>
                  <a:lnTo>
                    <a:pt x="38740" y="68661"/>
                  </a:lnTo>
                  <a:lnTo>
                    <a:pt x="38641" y="69058"/>
                  </a:lnTo>
                  <a:lnTo>
                    <a:pt x="38641" y="69454"/>
                  </a:lnTo>
                  <a:lnTo>
                    <a:pt x="38740" y="69850"/>
                  </a:lnTo>
                  <a:lnTo>
                    <a:pt x="38839" y="70247"/>
                  </a:lnTo>
                  <a:lnTo>
                    <a:pt x="38740" y="70445"/>
                  </a:lnTo>
                  <a:lnTo>
                    <a:pt x="38740" y="70643"/>
                  </a:lnTo>
                  <a:lnTo>
                    <a:pt x="38542" y="71039"/>
                  </a:lnTo>
                  <a:lnTo>
                    <a:pt x="38641" y="71436"/>
                  </a:lnTo>
                  <a:lnTo>
                    <a:pt x="38641" y="71634"/>
                  </a:lnTo>
                  <a:lnTo>
                    <a:pt x="38641" y="71733"/>
                  </a:lnTo>
                  <a:lnTo>
                    <a:pt x="38443" y="72030"/>
                  </a:lnTo>
                  <a:lnTo>
                    <a:pt x="38344" y="72228"/>
                  </a:lnTo>
                  <a:lnTo>
                    <a:pt x="38443" y="72426"/>
                  </a:lnTo>
                  <a:lnTo>
                    <a:pt x="38344" y="72922"/>
                  </a:lnTo>
                  <a:lnTo>
                    <a:pt x="38047" y="73516"/>
                  </a:lnTo>
                  <a:lnTo>
                    <a:pt x="37750" y="74111"/>
                  </a:lnTo>
                  <a:lnTo>
                    <a:pt x="37551" y="74210"/>
                  </a:lnTo>
                  <a:lnTo>
                    <a:pt x="37353" y="74408"/>
                  </a:lnTo>
                  <a:lnTo>
                    <a:pt x="36957" y="74507"/>
                  </a:lnTo>
                  <a:lnTo>
                    <a:pt x="36759" y="74705"/>
                  </a:lnTo>
                  <a:lnTo>
                    <a:pt x="36263" y="75101"/>
                  </a:lnTo>
                  <a:lnTo>
                    <a:pt x="35669" y="75498"/>
                  </a:lnTo>
                  <a:lnTo>
                    <a:pt x="35074" y="75795"/>
                  </a:lnTo>
                  <a:lnTo>
                    <a:pt x="33886" y="76290"/>
                  </a:lnTo>
                  <a:lnTo>
                    <a:pt x="32994" y="76687"/>
                  </a:lnTo>
                  <a:lnTo>
                    <a:pt x="32201" y="77083"/>
                  </a:lnTo>
                  <a:lnTo>
                    <a:pt x="30616" y="77975"/>
                  </a:lnTo>
                  <a:lnTo>
                    <a:pt x="29031" y="78767"/>
                  </a:lnTo>
                  <a:lnTo>
                    <a:pt x="27941" y="79263"/>
                  </a:lnTo>
                  <a:lnTo>
                    <a:pt x="27445" y="79560"/>
                  </a:lnTo>
                  <a:lnTo>
                    <a:pt x="26950" y="79956"/>
                  </a:lnTo>
                  <a:lnTo>
                    <a:pt x="26752" y="80154"/>
                  </a:lnTo>
                  <a:lnTo>
                    <a:pt x="26653" y="80452"/>
                  </a:lnTo>
                  <a:lnTo>
                    <a:pt x="26455" y="81244"/>
                  </a:lnTo>
                  <a:lnTo>
                    <a:pt x="26455" y="81641"/>
                  </a:lnTo>
                  <a:lnTo>
                    <a:pt x="26455" y="82136"/>
                  </a:lnTo>
                  <a:lnTo>
                    <a:pt x="26455" y="82235"/>
                  </a:lnTo>
                  <a:lnTo>
                    <a:pt x="26356" y="82334"/>
                  </a:lnTo>
                  <a:lnTo>
                    <a:pt x="25860" y="82334"/>
                  </a:lnTo>
                  <a:lnTo>
                    <a:pt x="25365" y="82532"/>
                  </a:lnTo>
                  <a:lnTo>
                    <a:pt x="24473" y="82929"/>
                  </a:lnTo>
                  <a:lnTo>
                    <a:pt x="23879" y="83127"/>
                  </a:lnTo>
                  <a:lnTo>
                    <a:pt x="23284" y="83523"/>
                  </a:lnTo>
                  <a:lnTo>
                    <a:pt x="22888" y="84018"/>
                  </a:lnTo>
                  <a:lnTo>
                    <a:pt x="22789" y="84316"/>
                  </a:lnTo>
                  <a:lnTo>
                    <a:pt x="22690" y="84613"/>
                  </a:lnTo>
                  <a:lnTo>
                    <a:pt x="22492" y="86297"/>
                  </a:lnTo>
                  <a:lnTo>
                    <a:pt x="22393" y="87090"/>
                  </a:lnTo>
                  <a:lnTo>
                    <a:pt x="22393" y="87982"/>
                  </a:lnTo>
                  <a:lnTo>
                    <a:pt x="22393" y="88180"/>
                  </a:lnTo>
                  <a:lnTo>
                    <a:pt x="22393" y="88477"/>
                  </a:lnTo>
                  <a:lnTo>
                    <a:pt x="22393" y="88675"/>
                  </a:lnTo>
                  <a:lnTo>
                    <a:pt x="22095" y="88774"/>
                  </a:lnTo>
                  <a:lnTo>
                    <a:pt x="21600" y="88873"/>
                  </a:lnTo>
                  <a:lnTo>
                    <a:pt x="21005" y="88972"/>
                  </a:lnTo>
                  <a:lnTo>
                    <a:pt x="20510" y="88972"/>
                  </a:lnTo>
                  <a:lnTo>
                    <a:pt x="19916" y="89071"/>
                  </a:lnTo>
                  <a:lnTo>
                    <a:pt x="18231" y="89567"/>
                  </a:lnTo>
                  <a:lnTo>
                    <a:pt x="16448" y="89963"/>
                  </a:lnTo>
                  <a:lnTo>
                    <a:pt x="16151" y="90062"/>
                  </a:lnTo>
                  <a:lnTo>
                    <a:pt x="15952" y="90161"/>
                  </a:lnTo>
                  <a:lnTo>
                    <a:pt x="15853" y="90359"/>
                  </a:lnTo>
                  <a:lnTo>
                    <a:pt x="15853" y="90657"/>
                  </a:lnTo>
                  <a:lnTo>
                    <a:pt x="15853" y="91548"/>
                  </a:lnTo>
                  <a:lnTo>
                    <a:pt x="15754" y="92341"/>
                  </a:lnTo>
                  <a:lnTo>
                    <a:pt x="15754" y="93134"/>
                  </a:lnTo>
                  <a:lnTo>
                    <a:pt x="15754" y="94025"/>
                  </a:lnTo>
                  <a:lnTo>
                    <a:pt x="15853" y="94521"/>
                  </a:lnTo>
                  <a:lnTo>
                    <a:pt x="15853" y="94818"/>
                  </a:lnTo>
                  <a:lnTo>
                    <a:pt x="15754" y="95115"/>
                  </a:lnTo>
                  <a:lnTo>
                    <a:pt x="15754" y="95214"/>
                  </a:lnTo>
                  <a:lnTo>
                    <a:pt x="15754" y="95412"/>
                  </a:lnTo>
                  <a:lnTo>
                    <a:pt x="15655" y="95511"/>
                  </a:lnTo>
                  <a:lnTo>
                    <a:pt x="15655" y="95710"/>
                  </a:lnTo>
                  <a:lnTo>
                    <a:pt x="15754" y="96007"/>
                  </a:lnTo>
                  <a:lnTo>
                    <a:pt x="15754" y="96403"/>
                  </a:lnTo>
                  <a:lnTo>
                    <a:pt x="15754" y="96998"/>
                  </a:lnTo>
                  <a:lnTo>
                    <a:pt x="15655" y="97394"/>
                  </a:lnTo>
                  <a:lnTo>
                    <a:pt x="15754" y="97790"/>
                  </a:lnTo>
                  <a:lnTo>
                    <a:pt x="15754" y="98187"/>
                  </a:lnTo>
                  <a:lnTo>
                    <a:pt x="15754" y="98385"/>
                  </a:lnTo>
                  <a:lnTo>
                    <a:pt x="15655" y="98583"/>
                  </a:lnTo>
                  <a:lnTo>
                    <a:pt x="15655" y="98682"/>
                  </a:lnTo>
                  <a:lnTo>
                    <a:pt x="15754" y="99177"/>
                  </a:lnTo>
                  <a:lnTo>
                    <a:pt x="15754" y="99574"/>
                  </a:lnTo>
                  <a:lnTo>
                    <a:pt x="15655" y="100267"/>
                  </a:lnTo>
                  <a:lnTo>
                    <a:pt x="15556" y="100564"/>
                  </a:lnTo>
                  <a:lnTo>
                    <a:pt x="15655" y="100763"/>
                  </a:lnTo>
                  <a:lnTo>
                    <a:pt x="15754" y="101159"/>
                  </a:lnTo>
                  <a:lnTo>
                    <a:pt x="15655" y="101555"/>
                  </a:lnTo>
                  <a:lnTo>
                    <a:pt x="15655" y="102249"/>
                  </a:lnTo>
                  <a:lnTo>
                    <a:pt x="15754" y="102942"/>
                  </a:lnTo>
                  <a:lnTo>
                    <a:pt x="15754" y="103339"/>
                  </a:lnTo>
                  <a:lnTo>
                    <a:pt x="15655" y="103636"/>
                  </a:lnTo>
                  <a:lnTo>
                    <a:pt x="15556" y="104131"/>
                  </a:lnTo>
                  <a:lnTo>
                    <a:pt x="15655" y="104528"/>
                  </a:lnTo>
                  <a:lnTo>
                    <a:pt x="15655" y="105023"/>
                  </a:lnTo>
                  <a:lnTo>
                    <a:pt x="15556" y="105419"/>
                  </a:lnTo>
                  <a:lnTo>
                    <a:pt x="15556" y="105716"/>
                  </a:lnTo>
                  <a:lnTo>
                    <a:pt x="15556" y="106014"/>
                  </a:lnTo>
                  <a:lnTo>
                    <a:pt x="15655" y="106608"/>
                  </a:lnTo>
                  <a:lnTo>
                    <a:pt x="15655" y="107104"/>
                  </a:lnTo>
                  <a:lnTo>
                    <a:pt x="15655" y="107500"/>
                  </a:lnTo>
                  <a:lnTo>
                    <a:pt x="15556" y="108392"/>
                  </a:lnTo>
                  <a:lnTo>
                    <a:pt x="15556" y="108986"/>
                  </a:lnTo>
                  <a:lnTo>
                    <a:pt x="15655" y="109680"/>
                  </a:lnTo>
                  <a:lnTo>
                    <a:pt x="15655" y="110373"/>
                  </a:lnTo>
                  <a:lnTo>
                    <a:pt x="15556" y="110968"/>
                  </a:lnTo>
                  <a:lnTo>
                    <a:pt x="15556" y="111760"/>
                  </a:lnTo>
                  <a:lnTo>
                    <a:pt x="15556" y="112553"/>
                  </a:lnTo>
                  <a:lnTo>
                    <a:pt x="15655" y="112949"/>
                  </a:lnTo>
                  <a:lnTo>
                    <a:pt x="15655" y="113346"/>
                  </a:lnTo>
                  <a:lnTo>
                    <a:pt x="15655" y="113841"/>
                  </a:lnTo>
                  <a:lnTo>
                    <a:pt x="15754" y="114336"/>
                  </a:lnTo>
                  <a:lnTo>
                    <a:pt x="15952" y="114832"/>
                  </a:lnTo>
                  <a:lnTo>
                    <a:pt x="16250" y="115228"/>
                  </a:lnTo>
                  <a:lnTo>
                    <a:pt x="16745" y="115525"/>
                  </a:lnTo>
                  <a:lnTo>
                    <a:pt x="17141" y="115525"/>
                  </a:lnTo>
                  <a:lnTo>
                    <a:pt x="17637" y="115426"/>
                  </a:lnTo>
                  <a:lnTo>
                    <a:pt x="18132" y="115426"/>
                  </a:lnTo>
                  <a:lnTo>
                    <a:pt x="20807" y="115525"/>
                  </a:lnTo>
                  <a:lnTo>
                    <a:pt x="24275" y="115525"/>
                  </a:lnTo>
                  <a:lnTo>
                    <a:pt x="27842" y="115426"/>
                  </a:lnTo>
                  <a:lnTo>
                    <a:pt x="33985" y="115327"/>
                  </a:lnTo>
                  <a:lnTo>
                    <a:pt x="49936" y="115327"/>
                  </a:lnTo>
                  <a:lnTo>
                    <a:pt x="55484" y="115426"/>
                  </a:lnTo>
                  <a:lnTo>
                    <a:pt x="57169" y="115426"/>
                  </a:lnTo>
                  <a:lnTo>
                    <a:pt x="58754" y="115525"/>
                  </a:lnTo>
                  <a:lnTo>
                    <a:pt x="68563" y="115525"/>
                  </a:lnTo>
                  <a:lnTo>
                    <a:pt x="68761" y="115426"/>
                  </a:lnTo>
                  <a:lnTo>
                    <a:pt x="68860" y="115426"/>
                  </a:lnTo>
                  <a:lnTo>
                    <a:pt x="68860" y="115129"/>
                  </a:lnTo>
                  <a:lnTo>
                    <a:pt x="68959" y="114931"/>
                  </a:lnTo>
                  <a:lnTo>
                    <a:pt x="69058" y="114832"/>
                  </a:lnTo>
                  <a:lnTo>
                    <a:pt x="69454" y="114634"/>
                  </a:lnTo>
                  <a:lnTo>
                    <a:pt x="69653" y="114435"/>
                  </a:lnTo>
                  <a:lnTo>
                    <a:pt x="69653" y="114237"/>
                  </a:lnTo>
                  <a:lnTo>
                    <a:pt x="69653" y="111562"/>
                  </a:lnTo>
                  <a:lnTo>
                    <a:pt x="69752" y="110076"/>
                  </a:lnTo>
                  <a:lnTo>
                    <a:pt x="69752" y="108491"/>
                  </a:lnTo>
                  <a:lnTo>
                    <a:pt x="69653" y="104924"/>
                  </a:lnTo>
                  <a:lnTo>
                    <a:pt x="69653" y="103140"/>
                  </a:lnTo>
                  <a:lnTo>
                    <a:pt x="69653" y="101357"/>
                  </a:lnTo>
                  <a:lnTo>
                    <a:pt x="69653" y="100465"/>
                  </a:lnTo>
                  <a:lnTo>
                    <a:pt x="69653" y="99475"/>
                  </a:lnTo>
                  <a:lnTo>
                    <a:pt x="69554" y="98682"/>
                  </a:lnTo>
                  <a:lnTo>
                    <a:pt x="69653" y="97790"/>
                  </a:lnTo>
                  <a:lnTo>
                    <a:pt x="69653" y="97097"/>
                  </a:lnTo>
                  <a:lnTo>
                    <a:pt x="69653" y="96403"/>
                  </a:lnTo>
                  <a:lnTo>
                    <a:pt x="69554" y="95016"/>
                  </a:lnTo>
                  <a:lnTo>
                    <a:pt x="69554" y="93827"/>
                  </a:lnTo>
                  <a:lnTo>
                    <a:pt x="69554" y="92638"/>
                  </a:lnTo>
                  <a:lnTo>
                    <a:pt x="69454" y="91350"/>
                  </a:lnTo>
                  <a:lnTo>
                    <a:pt x="69355" y="90657"/>
                  </a:lnTo>
                  <a:lnTo>
                    <a:pt x="69355" y="90062"/>
                  </a:lnTo>
                  <a:lnTo>
                    <a:pt x="69355" y="89963"/>
                  </a:lnTo>
                  <a:lnTo>
                    <a:pt x="69256" y="89864"/>
                  </a:lnTo>
                  <a:lnTo>
                    <a:pt x="68365" y="89666"/>
                  </a:lnTo>
                  <a:lnTo>
                    <a:pt x="67473" y="89369"/>
                  </a:lnTo>
                  <a:lnTo>
                    <a:pt x="66482" y="89170"/>
                  </a:lnTo>
                  <a:lnTo>
                    <a:pt x="65491" y="88972"/>
                  </a:lnTo>
                  <a:lnTo>
                    <a:pt x="64501" y="88774"/>
                  </a:lnTo>
                  <a:lnTo>
                    <a:pt x="64005" y="88675"/>
                  </a:lnTo>
                  <a:lnTo>
                    <a:pt x="63510" y="88576"/>
                  </a:lnTo>
                  <a:lnTo>
                    <a:pt x="63213" y="88576"/>
                  </a:lnTo>
                  <a:lnTo>
                    <a:pt x="63014" y="88378"/>
                  </a:lnTo>
                  <a:lnTo>
                    <a:pt x="62816" y="88180"/>
                  </a:lnTo>
                  <a:lnTo>
                    <a:pt x="62816" y="87783"/>
                  </a:lnTo>
                  <a:lnTo>
                    <a:pt x="62816" y="87288"/>
                  </a:lnTo>
                  <a:lnTo>
                    <a:pt x="62816" y="87090"/>
                  </a:lnTo>
                  <a:lnTo>
                    <a:pt x="62816" y="86793"/>
                  </a:lnTo>
                  <a:lnTo>
                    <a:pt x="62618" y="86297"/>
                  </a:lnTo>
                  <a:lnTo>
                    <a:pt x="62618" y="85802"/>
                  </a:lnTo>
                  <a:lnTo>
                    <a:pt x="62420" y="84712"/>
                  </a:lnTo>
                  <a:lnTo>
                    <a:pt x="62222" y="84117"/>
                  </a:lnTo>
                  <a:lnTo>
                    <a:pt x="61925" y="83721"/>
                  </a:lnTo>
                  <a:lnTo>
                    <a:pt x="61627" y="83424"/>
                  </a:lnTo>
                  <a:lnTo>
                    <a:pt x="61132" y="83127"/>
                  </a:lnTo>
                  <a:lnTo>
                    <a:pt x="60438" y="82929"/>
                  </a:lnTo>
                  <a:lnTo>
                    <a:pt x="60141" y="82730"/>
                  </a:lnTo>
                  <a:lnTo>
                    <a:pt x="59844" y="82631"/>
                  </a:lnTo>
                  <a:lnTo>
                    <a:pt x="59249" y="82532"/>
                  </a:lnTo>
                  <a:lnTo>
                    <a:pt x="58952" y="82433"/>
                  </a:lnTo>
                  <a:lnTo>
                    <a:pt x="58655" y="82433"/>
                  </a:lnTo>
                  <a:lnTo>
                    <a:pt x="58853" y="81641"/>
                  </a:lnTo>
                  <a:lnTo>
                    <a:pt x="58853" y="81244"/>
                  </a:lnTo>
                  <a:lnTo>
                    <a:pt x="58754" y="80848"/>
                  </a:lnTo>
                  <a:lnTo>
                    <a:pt x="58655" y="80353"/>
                  </a:lnTo>
                  <a:lnTo>
                    <a:pt x="58556" y="80055"/>
                  </a:lnTo>
                  <a:lnTo>
                    <a:pt x="58358" y="79857"/>
                  </a:lnTo>
                  <a:lnTo>
                    <a:pt x="57862" y="79461"/>
                  </a:lnTo>
                  <a:lnTo>
                    <a:pt x="57367" y="79164"/>
                  </a:lnTo>
                  <a:lnTo>
                    <a:pt x="56773" y="78866"/>
                  </a:lnTo>
                  <a:lnTo>
                    <a:pt x="56178" y="78668"/>
                  </a:lnTo>
                  <a:lnTo>
                    <a:pt x="54989" y="78173"/>
                  </a:lnTo>
                  <a:lnTo>
                    <a:pt x="53998" y="77578"/>
                  </a:lnTo>
                  <a:lnTo>
                    <a:pt x="53305" y="77182"/>
                  </a:lnTo>
                  <a:lnTo>
                    <a:pt x="52611" y="76885"/>
                  </a:lnTo>
                  <a:lnTo>
                    <a:pt x="51323" y="76290"/>
                  </a:lnTo>
                  <a:lnTo>
                    <a:pt x="50134" y="75597"/>
                  </a:lnTo>
                  <a:lnTo>
                    <a:pt x="49639" y="75399"/>
                  </a:lnTo>
                  <a:lnTo>
                    <a:pt x="49243" y="75101"/>
                  </a:lnTo>
                  <a:lnTo>
                    <a:pt x="48747" y="74903"/>
                  </a:lnTo>
                  <a:lnTo>
                    <a:pt x="48351" y="74606"/>
                  </a:lnTo>
                  <a:lnTo>
                    <a:pt x="47657" y="74012"/>
                  </a:lnTo>
                  <a:lnTo>
                    <a:pt x="47360" y="73813"/>
                  </a:lnTo>
                  <a:lnTo>
                    <a:pt x="47162" y="73516"/>
                  </a:lnTo>
                  <a:lnTo>
                    <a:pt x="46964" y="72922"/>
                  </a:lnTo>
                  <a:lnTo>
                    <a:pt x="46865" y="72327"/>
                  </a:lnTo>
                  <a:lnTo>
                    <a:pt x="46766" y="71733"/>
                  </a:lnTo>
                  <a:lnTo>
                    <a:pt x="46667" y="69553"/>
                  </a:lnTo>
                  <a:lnTo>
                    <a:pt x="46468" y="67274"/>
                  </a:lnTo>
                  <a:lnTo>
                    <a:pt x="46369" y="63806"/>
                  </a:lnTo>
                  <a:lnTo>
                    <a:pt x="46270" y="61627"/>
                  </a:lnTo>
                  <a:lnTo>
                    <a:pt x="46171" y="57664"/>
                  </a:lnTo>
                  <a:lnTo>
                    <a:pt x="46171" y="57466"/>
                  </a:lnTo>
                  <a:lnTo>
                    <a:pt x="46171" y="57366"/>
                  </a:lnTo>
                  <a:lnTo>
                    <a:pt x="46369" y="57267"/>
                  </a:lnTo>
                  <a:lnTo>
                    <a:pt x="46568" y="57168"/>
                  </a:lnTo>
                  <a:lnTo>
                    <a:pt x="47360" y="56871"/>
                  </a:lnTo>
                  <a:lnTo>
                    <a:pt x="47657" y="56673"/>
                  </a:lnTo>
                  <a:lnTo>
                    <a:pt x="47756" y="56475"/>
                  </a:lnTo>
                  <a:lnTo>
                    <a:pt x="47856" y="56277"/>
                  </a:lnTo>
                  <a:lnTo>
                    <a:pt x="48351" y="54493"/>
                  </a:lnTo>
                  <a:lnTo>
                    <a:pt x="48549" y="53998"/>
                  </a:lnTo>
                  <a:lnTo>
                    <a:pt x="48648" y="53601"/>
                  </a:lnTo>
                  <a:lnTo>
                    <a:pt x="48747" y="53205"/>
                  </a:lnTo>
                  <a:lnTo>
                    <a:pt x="48846" y="52710"/>
                  </a:lnTo>
                  <a:lnTo>
                    <a:pt x="49044" y="52313"/>
                  </a:lnTo>
                  <a:lnTo>
                    <a:pt x="49044" y="51917"/>
                  </a:lnTo>
                  <a:lnTo>
                    <a:pt x="49243" y="51323"/>
                  </a:lnTo>
                  <a:lnTo>
                    <a:pt x="49342" y="50728"/>
                  </a:lnTo>
                  <a:lnTo>
                    <a:pt x="49342" y="50530"/>
                  </a:lnTo>
                  <a:lnTo>
                    <a:pt x="49441" y="50431"/>
                  </a:lnTo>
                  <a:lnTo>
                    <a:pt x="49738" y="50332"/>
                  </a:lnTo>
                  <a:lnTo>
                    <a:pt x="51720" y="49936"/>
                  </a:lnTo>
                  <a:lnTo>
                    <a:pt x="55187" y="49044"/>
                  </a:lnTo>
                  <a:lnTo>
                    <a:pt x="56773" y="48548"/>
                  </a:lnTo>
                  <a:lnTo>
                    <a:pt x="58259" y="47855"/>
                  </a:lnTo>
                  <a:lnTo>
                    <a:pt x="58853" y="47558"/>
                  </a:lnTo>
                  <a:lnTo>
                    <a:pt x="59150" y="47459"/>
                  </a:lnTo>
                  <a:lnTo>
                    <a:pt x="59448" y="47459"/>
                  </a:lnTo>
                  <a:lnTo>
                    <a:pt x="59745" y="47360"/>
                  </a:lnTo>
                  <a:lnTo>
                    <a:pt x="60141" y="47260"/>
                  </a:lnTo>
                  <a:lnTo>
                    <a:pt x="60438" y="47161"/>
                  </a:lnTo>
                  <a:lnTo>
                    <a:pt x="60736" y="47062"/>
                  </a:lnTo>
                  <a:lnTo>
                    <a:pt x="60934" y="46963"/>
                  </a:lnTo>
                  <a:lnTo>
                    <a:pt x="61132" y="46864"/>
                  </a:lnTo>
                  <a:lnTo>
                    <a:pt x="61528" y="46567"/>
                  </a:lnTo>
                  <a:lnTo>
                    <a:pt x="62123" y="46270"/>
                  </a:lnTo>
                  <a:lnTo>
                    <a:pt x="62519" y="45873"/>
                  </a:lnTo>
                  <a:lnTo>
                    <a:pt x="63510" y="45180"/>
                  </a:lnTo>
                  <a:lnTo>
                    <a:pt x="63906" y="44684"/>
                  </a:lnTo>
                  <a:lnTo>
                    <a:pt x="64104" y="44486"/>
                  </a:lnTo>
                  <a:lnTo>
                    <a:pt x="64302" y="44288"/>
                  </a:lnTo>
                  <a:lnTo>
                    <a:pt x="64897" y="43892"/>
                  </a:lnTo>
                  <a:lnTo>
                    <a:pt x="65293" y="43396"/>
                  </a:lnTo>
                  <a:lnTo>
                    <a:pt x="65690" y="42901"/>
                  </a:lnTo>
                  <a:lnTo>
                    <a:pt x="66086" y="42307"/>
                  </a:lnTo>
                  <a:lnTo>
                    <a:pt x="66383" y="41712"/>
                  </a:lnTo>
                  <a:lnTo>
                    <a:pt x="66581" y="41019"/>
                  </a:lnTo>
                  <a:lnTo>
                    <a:pt x="66978" y="39731"/>
                  </a:lnTo>
                  <a:lnTo>
                    <a:pt x="67077" y="39037"/>
                  </a:lnTo>
                  <a:lnTo>
                    <a:pt x="67077" y="38343"/>
                  </a:lnTo>
                  <a:lnTo>
                    <a:pt x="67176" y="37749"/>
                  </a:lnTo>
                  <a:lnTo>
                    <a:pt x="67275" y="37055"/>
                  </a:lnTo>
                  <a:lnTo>
                    <a:pt x="67374" y="36659"/>
                  </a:lnTo>
                  <a:lnTo>
                    <a:pt x="67572" y="36461"/>
                  </a:lnTo>
                  <a:lnTo>
                    <a:pt x="68067" y="35966"/>
                  </a:lnTo>
                  <a:lnTo>
                    <a:pt x="69752" y="34777"/>
                  </a:lnTo>
                  <a:lnTo>
                    <a:pt x="70346" y="34281"/>
                  </a:lnTo>
                  <a:lnTo>
                    <a:pt x="70643" y="33984"/>
                  </a:lnTo>
                  <a:lnTo>
                    <a:pt x="70941" y="33786"/>
                  </a:lnTo>
                  <a:lnTo>
                    <a:pt x="71337" y="33588"/>
                  </a:lnTo>
                  <a:lnTo>
                    <a:pt x="71634" y="33290"/>
                  </a:lnTo>
                  <a:lnTo>
                    <a:pt x="71832" y="32993"/>
                  </a:lnTo>
                  <a:lnTo>
                    <a:pt x="72229" y="32795"/>
                  </a:lnTo>
                  <a:lnTo>
                    <a:pt x="72427" y="32597"/>
                  </a:lnTo>
                  <a:lnTo>
                    <a:pt x="72625" y="32498"/>
                  </a:lnTo>
                  <a:lnTo>
                    <a:pt x="72922" y="32102"/>
                  </a:lnTo>
                  <a:lnTo>
                    <a:pt x="74309" y="30714"/>
                  </a:lnTo>
                  <a:lnTo>
                    <a:pt x="74805" y="30120"/>
                  </a:lnTo>
                  <a:lnTo>
                    <a:pt x="75300" y="29625"/>
                  </a:lnTo>
                  <a:lnTo>
                    <a:pt x="75795" y="29129"/>
                  </a:lnTo>
                  <a:lnTo>
                    <a:pt x="76192" y="28634"/>
                  </a:lnTo>
                  <a:lnTo>
                    <a:pt x="76588" y="28138"/>
                  </a:lnTo>
                  <a:lnTo>
                    <a:pt x="76984" y="27643"/>
                  </a:lnTo>
                  <a:lnTo>
                    <a:pt x="77480" y="27148"/>
                  </a:lnTo>
                  <a:lnTo>
                    <a:pt x="77876" y="26553"/>
                  </a:lnTo>
                  <a:lnTo>
                    <a:pt x="78669" y="25463"/>
                  </a:lnTo>
                  <a:lnTo>
                    <a:pt x="79263" y="24373"/>
                  </a:lnTo>
                  <a:lnTo>
                    <a:pt x="79858" y="23383"/>
                  </a:lnTo>
                  <a:lnTo>
                    <a:pt x="80650" y="21896"/>
                  </a:lnTo>
                  <a:lnTo>
                    <a:pt x="81443" y="20311"/>
                  </a:lnTo>
                  <a:lnTo>
                    <a:pt x="81938" y="19320"/>
                  </a:lnTo>
                  <a:lnTo>
                    <a:pt x="82335" y="18330"/>
                  </a:lnTo>
                  <a:lnTo>
                    <a:pt x="83127" y="16348"/>
                  </a:lnTo>
                  <a:lnTo>
                    <a:pt x="83424" y="15357"/>
                  </a:lnTo>
                  <a:lnTo>
                    <a:pt x="83623" y="14862"/>
                  </a:lnTo>
                  <a:lnTo>
                    <a:pt x="83821" y="14367"/>
                  </a:lnTo>
                  <a:lnTo>
                    <a:pt x="84217" y="13277"/>
                  </a:lnTo>
                  <a:lnTo>
                    <a:pt x="84514" y="12088"/>
                  </a:lnTo>
                  <a:lnTo>
                    <a:pt x="85010" y="9908"/>
                  </a:lnTo>
                  <a:lnTo>
                    <a:pt x="85208" y="7530"/>
                  </a:lnTo>
                  <a:lnTo>
                    <a:pt x="85307" y="6143"/>
                  </a:lnTo>
                  <a:lnTo>
                    <a:pt x="85307" y="4756"/>
                  </a:lnTo>
                  <a:lnTo>
                    <a:pt x="85208" y="3171"/>
                  </a:lnTo>
                  <a:lnTo>
                    <a:pt x="84812" y="1486"/>
                  </a:lnTo>
                  <a:lnTo>
                    <a:pt x="84613" y="793"/>
                  </a:lnTo>
                  <a:lnTo>
                    <a:pt x="84415" y="595"/>
                  </a:lnTo>
                  <a:lnTo>
                    <a:pt x="84118" y="397"/>
                  </a:lnTo>
                  <a:lnTo>
                    <a:pt x="83920" y="198"/>
                  </a:lnTo>
                  <a:lnTo>
                    <a:pt x="83623" y="99"/>
                  </a:lnTo>
                  <a:lnTo>
                    <a:pt x="82929" y="99"/>
                  </a:lnTo>
                  <a:lnTo>
                    <a:pt x="82136" y="198"/>
                  </a:lnTo>
                  <a:lnTo>
                    <a:pt x="80650" y="198"/>
                  </a:lnTo>
                  <a:lnTo>
                    <a:pt x="78669" y="397"/>
                  </a:lnTo>
                  <a:lnTo>
                    <a:pt x="76687" y="496"/>
                  </a:lnTo>
                  <a:lnTo>
                    <a:pt x="74805" y="793"/>
                  </a:lnTo>
                  <a:lnTo>
                    <a:pt x="73021" y="1090"/>
                  </a:lnTo>
                  <a:lnTo>
                    <a:pt x="71436" y="1387"/>
                  </a:lnTo>
                  <a:lnTo>
                    <a:pt x="69851" y="1586"/>
                  </a:lnTo>
                  <a:lnTo>
                    <a:pt x="69355" y="1784"/>
                  </a:lnTo>
                  <a:lnTo>
                    <a:pt x="68761" y="1883"/>
                  </a:lnTo>
                  <a:lnTo>
                    <a:pt x="68266" y="1883"/>
                  </a:lnTo>
                  <a:lnTo>
                    <a:pt x="67869" y="2081"/>
                  </a:lnTo>
                  <a:lnTo>
                    <a:pt x="67671" y="2279"/>
                  </a:lnTo>
                  <a:lnTo>
                    <a:pt x="67572" y="2675"/>
                  </a:lnTo>
                  <a:lnTo>
                    <a:pt x="67572" y="3171"/>
                  </a:lnTo>
                  <a:lnTo>
                    <a:pt x="67572" y="3567"/>
                  </a:lnTo>
                  <a:lnTo>
                    <a:pt x="67572" y="4360"/>
                  </a:lnTo>
                  <a:lnTo>
                    <a:pt x="67473" y="5152"/>
                  </a:lnTo>
                  <a:lnTo>
                    <a:pt x="67077" y="6539"/>
                  </a:lnTo>
                  <a:lnTo>
                    <a:pt x="66978" y="7233"/>
                  </a:lnTo>
                  <a:lnTo>
                    <a:pt x="66680" y="7827"/>
                  </a:lnTo>
                  <a:lnTo>
                    <a:pt x="66284" y="8422"/>
                  </a:lnTo>
                  <a:lnTo>
                    <a:pt x="65888" y="9016"/>
                  </a:lnTo>
                  <a:lnTo>
                    <a:pt x="65392" y="9512"/>
                  </a:lnTo>
                  <a:lnTo>
                    <a:pt x="64798" y="9809"/>
                  </a:lnTo>
                  <a:lnTo>
                    <a:pt x="64699" y="9809"/>
                  </a:lnTo>
                  <a:lnTo>
                    <a:pt x="64600" y="9512"/>
                  </a:lnTo>
                  <a:lnTo>
                    <a:pt x="64600" y="9215"/>
                  </a:lnTo>
                  <a:lnTo>
                    <a:pt x="64501" y="9016"/>
                  </a:lnTo>
                  <a:lnTo>
                    <a:pt x="64501" y="8917"/>
                  </a:lnTo>
                  <a:lnTo>
                    <a:pt x="64104" y="7926"/>
                  </a:lnTo>
                  <a:lnTo>
                    <a:pt x="63906" y="6936"/>
                  </a:lnTo>
                  <a:lnTo>
                    <a:pt x="63510" y="5648"/>
                  </a:lnTo>
                  <a:lnTo>
                    <a:pt x="63213" y="4459"/>
                  </a:lnTo>
                  <a:lnTo>
                    <a:pt x="63113" y="4261"/>
                  </a:lnTo>
                  <a:lnTo>
                    <a:pt x="62915" y="4162"/>
                  </a:lnTo>
                  <a:lnTo>
                    <a:pt x="62816" y="4162"/>
                  </a:lnTo>
                  <a:lnTo>
                    <a:pt x="62717" y="4261"/>
                  </a:lnTo>
                  <a:lnTo>
                    <a:pt x="62618" y="4360"/>
                  </a:lnTo>
                  <a:lnTo>
                    <a:pt x="62519" y="4360"/>
                  </a:lnTo>
                  <a:lnTo>
                    <a:pt x="62321" y="4261"/>
                  </a:lnTo>
                  <a:lnTo>
                    <a:pt x="61726" y="3963"/>
                  </a:lnTo>
                  <a:lnTo>
                    <a:pt x="61132" y="3864"/>
                  </a:lnTo>
                  <a:lnTo>
                    <a:pt x="59844" y="3567"/>
                  </a:lnTo>
                  <a:lnTo>
                    <a:pt x="59249" y="3567"/>
                  </a:lnTo>
                  <a:lnTo>
                    <a:pt x="58952" y="3468"/>
                  </a:lnTo>
                  <a:lnTo>
                    <a:pt x="58655" y="3369"/>
                  </a:lnTo>
                  <a:lnTo>
                    <a:pt x="58061" y="3171"/>
                  </a:lnTo>
                  <a:lnTo>
                    <a:pt x="56971" y="3171"/>
                  </a:lnTo>
                  <a:lnTo>
                    <a:pt x="56376" y="3072"/>
                  </a:lnTo>
                  <a:lnTo>
                    <a:pt x="55187" y="2874"/>
                  </a:lnTo>
                  <a:lnTo>
                    <a:pt x="53998" y="2774"/>
                  </a:lnTo>
                  <a:lnTo>
                    <a:pt x="52809" y="2675"/>
                  </a:lnTo>
                  <a:lnTo>
                    <a:pt x="50927" y="2576"/>
                  </a:lnTo>
                  <a:lnTo>
                    <a:pt x="49540" y="2477"/>
                  </a:lnTo>
                  <a:lnTo>
                    <a:pt x="48153" y="2477"/>
                  </a:lnTo>
                  <a:lnTo>
                    <a:pt x="44982" y="2378"/>
                  </a:lnTo>
                  <a:lnTo>
                    <a:pt x="40326" y="2279"/>
                  </a:lnTo>
                  <a:lnTo>
                    <a:pt x="37750" y="2279"/>
                  </a:lnTo>
                  <a:lnTo>
                    <a:pt x="35074" y="2378"/>
                  </a:lnTo>
                  <a:lnTo>
                    <a:pt x="33489" y="2477"/>
                  </a:lnTo>
                  <a:lnTo>
                    <a:pt x="31904" y="2576"/>
                  </a:lnTo>
                  <a:lnTo>
                    <a:pt x="31111" y="2576"/>
                  </a:lnTo>
                  <a:lnTo>
                    <a:pt x="30220" y="2675"/>
                  </a:lnTo>
                  <a:lnTo>
                    <a:pt x="28535" y="2874"/>
                  </a:lnTo>
                  <a:lnTo>
                    <a:pt x="27148" y="2973"/>
                  </a:lnTo>
                  <a:lnTo>
                    <a:pt x="25860" y="3270"/>
                  </a:lnTo>
                  <a:lnTo>
                    <a:pt x="25167" y="3270"/>
                  </a:lnTo>
                  <a:lnTo>
                    <a:pt x="24869" y="3369"/>
                  </a:lnTo>
                  <a:lnTo>
                    <a:pt x="24473" y="3468"/>
                  </a:lnTo>
                  <a:lnTo>
                    <a:pt x="24077" y="3567"/>
                  </a:lnTo>
                  <a:lnTo>
                    <a:pt x="23681" y="3666"/>
                  </a:lnTo>
                  <a:lnTo>
                    <a:pt x="23284" y="3864"/>
                  </a:lnTo>
                  <a:lnTo>
                    <a:pt x="22987" y="4062"/>
                  </a:lnTo>
                  <a:lnTo>
                    <a:pt x="22789" y="4162"/>
                  </a:lnTo>
                  <a:lnTo>
                    <a:pt x="22591" y="4162"/>
                  </a:lnTo>
                  <a:lnTo>
                    <a:pt x="22293" y="4062"/>
                  </a:lnTo>
                  <a:lnTo>
                    <a:pt x="22095" y="4162"/>
                  </a:lnTo>
                  <a:lnTo>
                    <a:pt x="21996" y="4360"/>
                  </a:lnTo>
                  <a:lnTo>
                    <a:pt x="21897" y="4558"/>
                  </a:lnTo>
                  <a:lnTo>
                    <a:pt x="21600" y="5152"/>
                  </a:lnTo>
                  <a:lnTo>
                    <a:pt x="21402" y="5747"/>
                  </a:lnTo>
                  <a:lnTo>
                    <a:pt x="20807" y="7926"/>
                  </a:lnTo>
                  <a:lnTo>
                    <a:pt x="20312" y="9908"/>
                  </a:lnTo>
                  <a:lnTo>
                    <a:pt x="20015" y="9413"/>
                  </a:lnTo>
                  <a:lnTo>
                    <a:pt x="19618" y="9016"/>
                  </a:lnTo>
                  <a:lnTo>
                    <a:pt x="19222" y="8620"/>
                  </a:lnTo>
                  <a:lnTo>
                    <a:pt x="18925" y="8125"/>
                  </a:lnTo>
                  <a:lnTo>
                    <a:pt x="18528" y="7233"/>
                  </a:lnTo>
                  <a:lnTo>
                    <a:pt x="18330" y="6440"/>
                  </a:lnTo>
                  <a:lnTo>
                    <a:pt x="18132" y="5549"/>
                  </a:lnTo>
                  <a:lnTo>
                    <a:pt x="17934" y="4558"/>
                  </a:lnTo>
                  <a:lnTo>
                    <a:pt x="17835" y="2675"/>
                  </a:lnTo>
                  <a:lnTo>
                    <a:pt x="17736" y="2378"/>
                  </a:lnTo>
                  <a:lnTo>
                    <a:pt x="17637" y="2180"/>
                  </a:lnTo>
                  <a:lnTo>
                    <a:pt x="17439" y="2081"/>
                  </a:lnTo>
                  <a:lnTo>
                    <a:pt x="17141" y="2180"/>
                  </a:lnTo>
                  <a:lnTo>
                    <a:pt x="16844" y="2279"/>
                  </a:lnTo>
                  <a:lnTo>
                    <a:pt x="16646" y="2180"/>
                  </a:lnTo>
                  <a:lnTo>
                    <a:pt x="16547" y="2081"/>
                  </a:lnTo>
                  <a:lnTo>
                    <a:pt x="16547" y="1883"/>
                  </a:lnTo>
                  <a:lnTo>
                    <a:pt x="16448" y="1883"/>
                  </a:lnTo>
                  <a:lnTo>
                    <a:pt x="16151" y="1982"/>
                  </a:lnTo>
                  <a:lnTo>
                    <a:pt x="15952" y="1982"/>
                  </a:lnTo>
                  <a:lnTo>
                    <a:pt x="15754" y="1883"/>
                  </a:lnTo>
                  <a:lnTo>
                    <a:pt x="15556" y="1784"/>
                  </a:lnTo>
                  <a:lnTo>
                    <a:pt x="15358" y="1685"/>
                  </a:lnTo>
                  <a:lnTo>
                    <a:pt x="14664" y="1685"/>
                  </a:lnTo>
                  <a:lnTo>
                    <a:pt x="14268" y="1486"/>
                  </a:lnTo>
                  <a:lnTo>
                    <a:pt x="13971" y="1387"/>
                  </a:lnTo>
                  <a:lnTo>
                    <a:pt x="13575" y="1387"/>
                  </a:lnTo>
                  <a:lnTo>
                    <a:pt x="13376" y="1288"/>
                  </a:lnTo>
                  <a:lnTo>
                    <a:pt x="13277" y="1189"/>
                  </a:lnTo>
                  <a:lnTo>
                    <a:pt x="13079" y="1189"/>
                  </a:lnTo>
                  <a:lnTo>
                    <a:pt x="12881" y="1387"/>
                  </a:lnTo>
                  <a:lnTo>
                    <a:pt x="12683" y="1387"/>
                  </a:lnTo>
                  <a:lnTo>
                    <a:pt x="12584" y="1288"/>
                  </a:lnTo>
                  <a:lnTo>
                    <a:pt x="12386" y="1090"/>
                  </a:lnTo>
                  <a:lnTo>
                    <a:pt x="12287" y="1090"/>
                  </a:lnTo>
                  <a:lnTo>
                    <a:pt x="12088" y="1189"/>
                  </a:lnTo>
                  <a:lnTo>
                    <a:pt x="11890" y="1189"/>
                  </a:lnTo>
                  <a:lnTo>
                    <a:pt x="11791" y="1090"/>
                  </a:lnTo>
                  <a:lnTo>
                    <a:pt x="11593" y="991"/>
                  </a:lnTo>
                  <a:lnTo>
                    <a:pt x="11395" y="991"/>
                  </a:lnTo>
                  <a:lnTo>
                    <a:pt x="10999" y="1090"/>
                  </a:lnTo>
                  <a:lnTo>
                    <a:pt x="10602" y="991"/>
                  </a:lnTo>
                  <a:lnTo>
                    <a:pt x="10206" y="892"/>
                  </a:lnTo>
                  <a:lnTo>
                    <a:pt x="9810" y="892"/>
                  </a:lnTo>
                  <a:lnTo>
                    <a:pt x="9711" y="793"/>
                  </a:lnTo>
                  <a:lnTo>
                    <a:pt x="9611" y="694"/>
                  </a:lnTo>
                  <a:lnTo>
                    <a:pt x="9017" y="694"/>
                  </a:lnTo>
                  <a:lnTo>
                    <a:pt x="8720" y="595"/>
                  </a:lnTo>
                  <a:lnTo>
                    <a:pt x="8323" y="595"/>
                  </a:lnTo>
                  <a:lnTo>
                    <a:pt x="7828" y="496"/>
                  </a:lnTo>
                  <a:lnTo>
                    <a:pt x="7333" y="496"/>
                  </a:lnTo>
                  <a:lnTo>
                    <a:pt x="6738" y="397"/>
                  </a:lnTo>
                  <a:lnTo>
                    <a:pt x="3667" y="397"/>
                  </a:lnTo>
                  <a:lnTo>
                    <a:pt x="3370" y="496"/>
                  </a:lnTo>
                  <a:lnTo>
                    <a:pt x="3171" y="397"/>
                  </a:lnTo>
                  <a:lnTo>
                    <a:pt x="247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  <p:sp>
          <p:nvSpPr>
            <p:cNvPr id="11" name="Google Shape;414;p31">
              <a:extLst>
                <a:ext uri="{FF2B5EF4-FFF2-40B4-BE49-F238E27FC236}">
                  <a16:creationId xmlns:a16="http://schemas.microsoft.com/office/drawing/2014/main" id="{DB37F896-2149-99CD-1B8B-C62B514BDBB2}"/>
                </a:ext>
              </a:extLst>
            </p:cNvPr>
            <p:cNvSpPr/>
            <p:nvPr/>
          </p:nvSpPr>
          <p:spPr>
            <a:xfrm>
              <a:off x="4690716" y="1536500"/>
              <a:ext cx="518300" cy="846458"/>
            </a:xfrm>
            <a:custGeom>
              <a:avLst/>
              <a:gdLst/>
              <a:ahLst/>
              <a:cxnLst/>
              <a:rect l="l" t="t" r="r" b="b"/>
              <a:pathLst>
                <a:path w="16745" h="27347" extrusionOk="0">
                  <a:moveTo>
                    <a:pt x="8125" y="1"/>
                  </a:moveTo>
                  <a:lnTo>
                    <a:pt x="7927" y="100"/>
                  </a:lnTo>
                  <a:lnTo>
                    <a:pt x="7828" y="298"/>
                  </a:lnTo>
                  <a:lnTo>
                    <a:pt x="7629" y="992"/>
                  </a:lnTo>
                  <a:lnTo>
                    <a:pt x="7431" y="2280"/>
                  </a:lnTo>
                  <a:lnTo>
                    <a:pt x="7332" y="2874"/>
                  </a:lnTo>
                  <a:lnTo>
                    <a:pt x="7332" y="3568"/>
                  </a:lnTo>
                  <a:lnTo>
                    <a:pt x="7431" y="4261"/>
                  </a:lnTo>
                  <a:lnTo>
                    <a:pt x="7629" y="5054"/>
                  </a:lnTo>
                  <a:lnTo>
                    <a:pt x="7828" y="5747"/>
                  </a:lnTo>
                  <a:lnTo>
                    <a:pt x="8125" y="6540"/>
                  </a:lnTo>
                  <a:lnTo>
                    <a:pt x="8521" y="7234"/>
                  </a:lnTo>
                  <a:lnTo>
                    <a:pt x="8917" y="7828"/>
                  </a:lnTo>
                  <a:lnTo>
                    <a:pt x="9314" y="8522"/>
                  </a:lnTo>
                  <a:lnTo>
                    <a:pt x="9908" y="9017"/>
                  </a:lnTo>
                  <a:lnTo>
                    <a:pt x="10305" y="9314"/>
                  </a:lnTo>
                  <a:lnTo>
                    <a:pt x="10503" y="9711"/>
                  </a:lnTo>
                  <a:lnTo>
                    <a:pt x="10701" y="10107"/>
                  </a:lnTo>
                  <a:lnTo>
                    <a:pt x="10602" y="10701"/>
                  </a:lnTo>
                  <a:lnTo>
                    <a:pt x="10602" y="11098"/>
                  </a:lnTo>
                  <a:lnTo>
                    <a:pt x="10602" y="11494"/>
                  </a:lnTo>
                  <a:lnTo>
                    <a:pt x="10305" y="12881"/>
                  </a:lnTo>
                  <a:lnTo>
                    <a:pt x="9908" y="14268"/>
                  </a:lnTo>
                  <a:lnTo>
                    <a:pt x="9512" y="13872"/>
                  </a:lnTo>
                  <a:lnTo>
                    <a:pt x="9413" y="13575"/>
                  </a:lnTo>
                  <a:lnTo>
                    <a:pt x="9413" y="13178"/>
                  </a:lnTo>
                  <a:lnTo>
                    <a:pt x="9512" y="12683"/>
                  </a:lnTo>
                  <a:lnTo>
                    <a:pt x="9710" y="11989"/>
                  </a:lnTo>
                  <a:lnTo>
                    <a:pt x="9710" y="11593"/>
                  </a:lnTo>
                  <a:lnTo>
                    <a:pt x="9611" y="11296"/>
                  </a:lnTo>
                  <a:lnTo>
                    <a:pt x="9413" y="10602"/>
                  </a:lnTo>
                  <a:lnTo>
                    <a:pt x="9116" y="10008"/>
                  </a:lnTo>
                  <a:lnTo>
                    <a:pt x="8719" y="9413"/>
                  </a:lnTo>
                  <a:lnTo>
                    <a:pt x="8224" y="8918"/>
                  </a:lnTo>
                  <a:lnTo>
                    <a:pt x="7828" y="8522"/>
                  </a:lnTo>
                  <a:lnTo>
                    <a:pt x="7431" y="8224"/>
                  </a:lnTo>
                  <a:lnTo>
                    <a:pt x="6441" y="7630"/>
                  </a:lnTo>
                  <a:lnTo>
                    <a:pt x="6044" y="7531"/>
                  </a:lnTo>
                  <a:lnTo>
                    <a:pt x="5648" y="7432"/>
                  </a:lnTo>
                  <a:lnTo>
                    <a:pt x="4558" y="7432"/>
                  </a:lnTo>
                  <a:lnTo>
                    <a:pt x="4459" y="7630"/>
                  </a:lnTo>
                  <a:lnTo>
                    <a:pt x="4360" y="7828"/>
                  </a:lnTo>
                  <a:lnTo>
                    <a:pt x="4360" y="8125"/>
                  </a:lnTo>
                  <a:lnTo>
                    <a:pt x="4459" y="8621"/>
                  </a:lnTo>
                  <a:lnTo>
                    <a:pt x="4459" y="9116"/>
                  </a:lnTo>
                  <a:lnTo>
                    <a:pt x="4558" y="9611"/>
                  </a:lnTo>
                  <a:lnTo>
                    <a:pt x="4657" y="10107"/>
                  </a:lnTo>
                  <a:lnTo>
                    <a:pt x="4855" y="10503"/>
                  </a:lnTo>
                  <a:lnTo>
                    <a:pt x="4954" y="10900"/>
                  </a:lnTo>
                  <a:lnTo>
                    <a:pt x="5053" y="11296"/>
                  </a:lnTo>
                  <a:lnTo>
                    <a:pt x="5351" y="11593"/>
                  </a:lnTo>
                  <a:lnTo>
                    <a:pt x="5450" y="11791"/>
                  </a:lnTo>
                  <a:lnTo>
                    <a:pt x="5450" y="12088"/>
                  </a:lnTo>
                  <a:lnTo>
                    <a:pt x="5450" y="12287"/>
                  </a:lnTo>
                  <a:lnTo>
                    <a:pt x="5549" y="12485"/>
                  </a:lnTo>
                  <a:lnTo>
                    <a:pt x="5747" y="12584"/>
                  </a:lnTo>
                  <a:lnTo>
                    <a:pt x="5846" y="12683"/>
                  </a:lnTo>
                  <a:lnTo>
                    <a:pt x="6143" y="12683"/>
                  </a:lnTo>
                  <a:lnTo>
                    <a:pt x="6143" y="12881"/>
                  </a:lnTo>
                  <a:lnTo>
                    <a:pt x="6143" y="13079"/>
                  </a:lnTo>
                  <a:lnTo>
                    <a:pt x="6441" y="13277"/>
                  </a:lnTo>
                  <a:lnTo>
                    <a:pt x="6936" y="13476"/>
                  </a:lnTo>
                  <a:lnTo>
                    <a:pt x="7233" y="13773"/>
                  </a:lnTo>
                  <a:lnTo>
                    <a:pt x="7530" y="13971"/>
                  </a:lnTo>
                  <a:lnTo>
                    <a:pt x="7729" y="14070"/>
                  </a:lnTo>
                  <a:lnTo>
                    <a:pt x="8125" y="13971"/>
                  </a:lnTo>
                  <a:lnTo>
                    <a:pt x="8818" y="13971"/>
                  </a:lnTo>
                  <a:lnTo>
                    <a:pt x="8917" y="14070"/>
                  </a:lnTo>
                  <a:lnTo>
                    <a:pt x="9314" y="14764"/>
                  </a:lnTo>
                  <a:lnTo>
                    <a:pt x="9710" y="15358"/>
                  </a:lnTo>
                  <a:lnTo>
                    <a:pt x="9710" y="15457"/>
                  </a:lnTo>
                  <a:lnTo>
                    <a:pt x="9611" y="15556"/>
                  </a:lnTo>
                  <a:lnTo>
                    <a:pt x="9413" y="16250"/>
                  </a:lnTo>
                  <a:lnTo>
                    <a:pt x="9116" y="16844"/>
                  </a:lnTo>
                  <a:lnTo>
                    <a:pt x="9017" y="17340"/>
                  </a:lnTo>
                  <a:lnTo>
                    <a:pt x="8818" y="17736"/>
                  </a:lnTo>
                  <a:lnTo>
                    <a:pt x="8422" y="18429"/>
                  </a:lnTo>
                  <a:lnTo>
                    <a:pt x="8224" y="19024"/>
                  </a:lnTo>
                  <a:lnTo>
                    <a:pt x="8026" y="19321"/>
                  </a:lnTo>
                  <a:lnTo>
                    <a:pt x="7729" y="19519"/>
                  </a:lnTo>
                  <a:lnTo>
                    <a:pt x="7629" y="19519"/>
                  </a:lnTo>
                  <a:lnTo>
                    <a:pt x="7629" y="19420"/>
                  </a:lnTo>
                  <a:lnTo>
                    <a:pt x="7530" y="19222"/>
                  </a:lnTo>
                  <a:lnTo>
                    <a:pt x="7332" y="19123"/>
                  </a:lnTo>
                  <a:lnTo>
                    <a:pt x="7233" y="18925"/>
                  </a:lnTo>
                  <a:lnTo>
                    <a:pt x="7134" y="18429"/>
                  </a:lnTo>
                  <a:lnTo>
                    <a:pt x="7134" y="17538"/>
                  </a:lnTo>
                  <a:lnTo>
                    <a:pt x="7134" y="16745"/>
                  </a:lnTo>
                  <a:lnTo>
                    <a:pt x="6936" y="16052"/>
                  </a:lnTo>
                  <a:lnTo>
                    <a:pt x="6738" y="15655"/>
                  </a:lnTo>
                  <a:lnTo>
                    <a:pt x="6540" y="15358"/>
                  </a:lnTo>
                  <a:lnTo>
                    <a:pt x="6242" y="15061"/>
                  </a:lnTo>
                  <a:lnTo>
                    <a:pt x="5945" y="14764"/>
                  </a:lnTo>
                  <a:lnTo>
                    <a:pt x="5351" y="14367"/>
                  </a:lnTo>
                  <a:lnTo>
                    <a:pt x="4756" y="14070"/>
                  </a:lnTo>
                  <a:lnTo>
                    <a:pt x="4063" y="13872"/>
                  </a:lnTo>
                  <a:lnTo>
                    <a:pt x="3369" y="13773"/>
                  </a:lnTo>
                  <a:lnTo>
                    <a:pt x="3171" y="13773"/>
                  </a:lnTo>
                  <a:lnTo>
                    <a:pt x="2973" y="13971"/>
                  </a:lnTo>
                  <a:lnTo>
                    <a:pt x="2874" y="14466"/>
                  </a:lnTo>
                  <a:lnTo>
                    <a:pt x="2973" y="14863"/>
                  </a:lnTo>
                  <a:lnTo>
                    <a:pt x="3171" y="15754"/>
                  </a:lnTo>
                  <a:lnTo>
                    <a:pt x="3567" y="16745"/>
                  </a:lnTo>
                  <a:lnTo>
                    <a:pt x="4063" y="17637"/>
                  </a:lnTo>
                  <a:lnTo>
                    <a:pt x="4360" y="18033"/>
                  </a:lnTo>
                  <a:lnTo>
                    <a:pt x="4657" y="18330"/>
                  </a:lnTo>
                  <a:lnTo>
                    <a:pt x="4954" y="18628"/>
                  </a:lnTo>
                  <a:lnTo>
                    <a:pt x="5351" y="18826"/>
                  </a:lnTo>
                  <a:lnTo>
                    <a:pt x="6242" y="19024"/>
                  </a:lnTo>
                  <a:lnTo>
                    <a:pt x="6540" y="19222"/>
                  </a:lnTo>
                  <a:lnTo>
                    <a:pt x="6738" y="19420"/>
                  </a:lnTo>
                  <a:lnTo>
                    <a:pt x="6837" y="19618"/>
                  </a:lnTo>
                  <a:lnTo>
                    <a:pt x="7134" y="20312"/>
                  </a:lnTo>
                  <a:lnTo>
                    <a:pt x="7134" y="20609"/>
                  </a:lnTo>
                  <a:lnTo>
                    <a:pt x="6936" y="21105"/>
                  </a:lnTo>
                  <a:lnTo>
                    <a:pt x="6441" y="21798"/>
                  </a:lnTo>
                  <a:lnTo>
                    <a:pt x="5846" y="22591"/>
                  </a:lnTo>
                  <a:lnTo>
                    <a:pt x="5648" y="22987"/>
                  </a:lnTo>
                  <a:lnTo>
                    <a:pt x="5252" y="23284"/>
                  </a:lnTo>
                  <a:lnTo>
                    <a:pt x="4558" y="23978"/>
                  </a:lnTo>
                  <a:lnTo>
                    <a:pt x="4360" y="23383"/>
                  </a:lnTo>
                  <a:lnTo>
                    <a:pt x="4360" y="23185"/>
                  </a:lnTo>
                  <a:lnTo>
                    <a:pt x="4459" y="22888"/>
                  </a:lnTo>
                  <a:lnTo>
                    <a:pt x="4558" y="22194"/>
                  </a:lnTo>
                  <a:lnTo>
                    <a:pt x="4558" y="21897"/>
                  </a:lnTo>
                  <a:lnTo>
                    <a:pt x="4558" y="21501"/>
                  </a:lnTo>
                  <a:lnTo>
                    <a:pt x="4261" y="20708"/>
                  </a:lnTo>
                  <a:lnTo>
                    <a:pt x="3964" y="19916"/>
                  </a:lnTo>
                  <a:lnTo>
                    <a:pt x="3567" y="19222"/>
                  </a:lnTo>
                  <a:lnTo>
                    <a:pt x="2973" y="18628"/>
                  </a:lnTo>
                  <a:lnTo>
                    <a:pt x="1982" y="17835"/>
                  </a:lnTo>
                  <a:lnTo>
                    <a:pt x="1388" y="17637"/>
                  </a:lnTo>
                  <a:lnTo>
                    <a:pt x="793" y="17340"/>
                  </a:lnTo>
                  <a:lnTo>
                    <a:pt x="496" y="17340"/>
                  </a:lnTo>
                  <a:lnTo>
                    <a:pt x="397" y="17439"/>
                  </a:lnTo>
                  <a:lnTo>
                    <a:pt x="298" y="17637"/>
                  </a:lnTo>
                  <a:lnTo>
                    <a:pt x="100" y="18529"/>
                  </a:lnTo>
                  <a:lnTo>
                    <a:pt x="1" y="19420"/>
                  </a:lnTo>
                  <a:lnTo>
                    <a:pt x="100" y="20312"/>
                  </a:lnTo>
                  <a:lnTo>
                    <a:pt x="298" y="21105"/>
                  </a:lnTo>
                  <a:lnTo>
                    <a:pt x="397" y="21501"/>
                  </a:lnTo>
                  <a:lnTo>
                    <a:pt x="595" y="21897"/>
                  </a:lnTo>
                  <a:lnTo>
                    <a:pt x="1090" y="22591"/>
                  </a:lnTo>
                  <a:lnTo>
                    <a:pt x="1487" y="22987"/>
                  </a:lnTo>
                  <a:lnTo>
                    <a:pt x="1784" y="23383"/>
                  </a:lnTo>
                  <a:lnTo>
                    <a:pt x="2279" y="23681"/>
                  </a:lnTo>
                  <a:lnTo>
                    <a:pt x="2775" y="23780"/>
                  </a:lnTo>
                  <a:lnTo>
                    <a:pt x="3171" y="23780"/>
                  </a:lnTo>
                  <a:lnTo>
                    <a:pt x="3468" y="23978"/>
                  </a:lnTo>
                  <a:lnTo>
                    <a:pt x="3765" y="24473"/>
                  </a:lnTo>
                  <a:lnTo>
                    <a:pt x="3865" y="24671"/>
                  </a:lnTo>
                  <a:lnTo>
                    <a:pt x="3765" y="24671"/>
                  </a:lnTo>
                  <a:lnTo>
                    <a:pt x="3567" y="24870"/>
                  </a:lnTo>
                  <a:lnTo>
                    <a:pt x="3468" y="25068"/>
                  </a:lnTo>
                  <a:lnTo>
                    <a:pt x="3270" y="25266"/>
                  </a:lnTo>
                  <a:lnTo>
                    <a:pt x="3072" y="25464"/>
                  </a:lnTo>
                  <a:lnTo>
                    <a:pt x="1982" y="26158"/>
                  </a:lnTo>
                  <a:lnTo>
                    <a:pt x="892" y="26851"/>
                  </a:lnTo>
                  <a:lnTo>
                    <a:pt x="694" y="26950"/>
                  </a:lnTo>
                  <a:lnTo>
                    <a:pt x="694" y="27148"/>
                  </a:lnTo>
                  <a:lnTo>
                    <a:pt x="892" y="27346"/>
                  </a:lnTo>
                  <a:lnTo>
                    <a:pt x="991" y="27346"/>
                  </a:lnTo>
                  <a:lnTo>
                    <a:pt x="1487" y="27247"/>
                  </a:lnTo>
                  <a:lnTo>
                    <a:pt x="1982" y="27247"/>
                  </a:lnTo>
                  <a:lnTo>
                    <a:pt x="2775" y="26950"/>
                  </a:lnTo>
                  <a:lnTo>
                    <a:pt x="3468" y="26455"/>
                  </a:lnTo>
                  <a:lnTo>
                    <a:pt x="4063" y="25959"/>
                  </a:lnTo>
                  <a:lnTo>
                    <a:pt x="4756" y="25365"/>
                  </a:lnTo>
                  <a:lnTo>
                    <a:pt x="5053" y="25068"/>
                  </a:lnTo>
                  <a:lnTo>
                    <a:pt x="5252" y="24969"/>
                  </a:lnTo>
                  <a:lnTo>
                    <a:pt x="5549" y="25068"/>
                  </a:lnTo>
                  <a:lnTo>
                    <a:pt x="6143" y="25068"/>
                  </a:lnTo>
                  <a:lnTo>
                    <a:pt x="6639" y="24969"/>
                  </a:lnTo>
                  <a:lnTo>
                    <a:pt x="7035" y="25167"/>
                  </a:lnTo>
                  <a:lnTo>
                    <a:pt x="7332" y="25464"/>
                  </a:lnTo>
                  <a:lnTo>
                    <a:pt x="7629" y="25761"/>
                  </a:lnTo>
                  <a:lnTo>
                    <a:pt x="8026" y="26257"/>
                  </a:lnTo>
                  <a:lnTo>
                    <a:pt x="8323" y="26455"/>
                  </a:lnTo>
                  <a:lnTo>
                    <a:pt x="8719" y="26554"/>
                  </a:lnTo>
                  <a:lnTo>
                    <a:pt x="8917" y="26653"/>
                  </a:lnTo>
                  <a:lnTo>
                    <a:pt x="9215" y="26752"/>
                  </a:lnTo>
                  <a:lnTo>
                    <a:pt x="9710" y="26950"/>
                  </a:lnTo>
                  <a:lnTo>
                    <a:pt x="10206" y="27049"/>
                  </a:lnTo>
                  <a:lnTo>
                    <a:pt x="11196" y="27049"/>
                  </a:lnTo>
                  <a:lnTo>
                    <a:pt x="11692" y="26950"/>
                  </a:lnTo>
                  <a:lnTo>
                    <a:pt x="12187" y="26851"/>
                  </a:lnTo>
                  <a:lnTo>
                    <a:pt x="13079" y="26356"/>
                  </a:lnTo>
                  <a:lnTo>
                    <a:pt x="13376" y="26158"/>
                  </a:lnTo>
                  <a:lnTo>
                    <a:pt x="13574" y="25860"/>
                  </a:lnTo>
                  <a:lnTo>
                    <a:pt x="13574" y="25563"/>
                  </a:lnTo>
                  <a:lnTo>
                    <a:pt x="13475" y="25266"/>
                  </a:lnTo>
                  <a:lnTo>
                    <a:pt x="13277" y="24870"/>
                  </a:lnTo>
                  <a:lnTo>
                    <a:pt x="12980" y="24473"/>
                  </a:lnTo>
                  <a:lnTo>
                    <a:pt x="12286" y="23879"/>
                  </a:lnTo>
                  <a:lnTo>
                    <a:pt x="11890" y="23581"/>
                  </a:lnTo>
                  <a:lnTo>
                    <a:pt x="11394" y="23383"/>
                  </a:lnTo>
                  <a:lnTo>
                    <a:pt x="10998" y="23185"/>
                  </a:lnTo>
                  <a:lnTo>
                    <a:pt x="10503" y="23086"/>
                  </a:lnTo>
                  <a:lnTo>
                    <a:pt x="9611" y="23086"/>
                  </a:lnTo>
                  <a:lnTo>
                    <a:pt x="8620" y="23284"/>
                  </a:lnTo>
                  <a:lnTo>
                    <a:pt x="8125" y="23482"/>
                  </a:lnTo>
                  <a:lnTo>
                    <a:pt x="7828" y="23581"/>
                  </a:lnTo>
                  <a:lnTo>
                    <a:pt x="7629" y="23780"/>
                  </a:lnTo>
                  <a:lnTo>
                    <a:pt x="7233" y="24077"/>
                  </a:lnTo>
                  <a:lnTo>
                    <a:pt x="6936" y="24275"/>
                  </a:lnTo>
                  <a:lnTo>
                    <a:pt x="6540" y="24374"/>
                  </a:lnTo>
                  <a:lnTo>
                    <a:pt x="5945" y="24374"/>
                  </a:lnTo>
                  <a:lnTo>
                    <a:pt x="5846" y="24275"/>
                  </a:lnTo>
                  <a:lnTo>
                    <a:pt x="5846" y="24176"/>
                  </a:lnTo>
                  <a:lnTo>
                    <a:pt x="5945" y="23978"/>
                  </a:lnTo>
                  <a:lnTo>
                    <a:pt x="6441" y="23383"/>
                  </a:lnTo>
                  <a:lnTo>
                    <a:pt x="6936" y="22690"/>
                  </a:lnTo>
                  <a:lnTo>
                    <a:pt x="7332" y="22194"/>
                  </a:lnTo>
                  <a:lnTo>
                    <a:pt x="7629" y="21600"/>
                  </a:lnTo>
                  <a:lnTo>
                    <a:pt x="8026" y="21005"/>
                  </a:lnTo>
                  <a:lnTo>
                    <a:pt x="8323" y="20807"/>
                  </a:lnTo>
                  <a:lnTo>
                    <a:pt x="8620" y="20609"/>
                  </a:lnTo>
                  <a:lnTo>
                    <a:pt x="9017" y="20510"/>
                  </a:lnTo>
                  <a:lnTo>
                    <a:pt x="9413" y="20411"/>
                  </a:lnTo>
                  <a:lnTo>
                    <a:pt x="9908" y="20411"/>
                  </a:lnTo>
                  <a:lnTo>
                    <a:pt x="10305" y="20510"/>
                  </a:lnTo>
                  <a:lnTo>
                    <a:pt x="10800" y="20807"/>
                  </a:lnTo>
                  <a:lnTo>
                    <a:pt x="11097" y="20906"/>
                  </a:lnTo>
                  <a:lnTo>
                    <a:pt x="11494" y="20807"/>
                  </a:lnTo>
                  <a:lnTo>
                    <a:pt x="12682" y="20807"/>
                  </a:lnTo>
                  <a:lnTo>
                    <a:pt x="13178" y="20609"/>
                  </a:lnTo>
                  <a:lnTo>
                    <a:pt x="14169" y="20114"/>
                  </a:lnTo>
                  <a:lnTo>
                    <a:pt x="14565" y="19817"/>
                  </a:lnTo>
                  <a:lnTo>
                    <a:pt x="14862" y="19618"/>
                  </a:lnTo>
                  <a:lnTo>
                    <a:pt x="15358" y="18925"/>
                  </a:lnTo>
                  <a:lnTo>
                    <a:pt x="16150" y="17439"/>
                  </a:lnTo>
                  <a:lnTo>
                    <a:pt x="16150" y="17141"/>
                  </a:lnTo>
                  <a:lnTo>
                    <a:pt x="16150" y="16844"/>
                  </a:lnTo>
                  <a:lnTo>
                    <a:pt x="15952" y="16745"/>
                  </a:lnTo>
                  <a:lnTo>
                    <a:pt x="15754" y="16646"/>
                  </a:lnTo>
                  <a:lnTo>
                    <a:pt x="15060" y="16448"/>
                  </a:lnTo>
                  <a:lnTo>
                    <a:pt x="14268" y="16349"/>
                  </a:lnTo>
                  <a:lnTo>
                    <a:pt x="13178" y="16646"/>
                  </a:lnTo>
                  <a:lnTo>
                    <a:pt x="12583" y="16844"/>
                  </a:lnTo>
                  <a:lnTo>
                    <a:pt x="12088" y="17042"/>
                  </a:lnTo>
                  <a:lnTo>
                    <a:pt x="11494" y="17439"/>
                  </a:lnTo>
                  <a:lnTo>
                    <a:pt x="10998" y="17835"/>
                  </a:lnTo>
                  <a:lnTo>
                    <a:pt x="10503" y="18330"/>
                  </a:lnTo>
                  <a:lnTo>
                    <a:pt x="10106" y="18826"/>
                  </a:lnTo>
                  <a:lnTo>
                    <a:pt x="10007" y="18925"/>
                  </a:lnTo>
                  <a:lnTo>
                    <a:pt x="9908" y="19222"/>
                  </a:lnTo>
                  <a:lnTo>
                    <a:pt x="9809" y="19519"/>
                  </a:lnTo>
                  <a:lnTo>
                    <a:pt x="9710" y="19618"/>
                  </a:lnTo>
                  <a:lnTo>
                    <a:pt x="9413" y="19717"/>
                  </a:lnTo>
                  <a:lnTo>
                    <a:pt x="9215" y="19817"/>
                  </a:lnTo>
                  <a:lnTo>
                    <a:pt x="9017" y="19717"/>
                  </a:lnTo>
                  <a:lnTo>
                    <a:pt x="8917" y="19717"/>
                  </a:lnTo>
                  <a:lnTo>
                    <a:pt x="8917" y="19618"/>
                  </a:lnTo>
                  <a:lnTo>
                    <a:pt x="8917" y="19420"/>
                  </a:lnTo>
                  <a:lnTo>
                    <a:pt x="9512" y="18529"/>
                  </a:lnTo>
                  <a:lnTo>
                    <a:pt x="9908" y="17538"/>
                  </a:lnTo>
                  <a:lnTo>
                    <a:pt x="10206" y="16745"/>
                  </a:lnTo>
                  <a:lnTo>
                    <a:pt x="10404" y="15853"/>
                  </a:lnTo>
                  <a:lnTo>
                    <a:pt x="10503" y="15556"/>
                  </a:lnTo>
                  <a:lnTo>
                    <a:pt x="10602" y="15358"/>
                  </a:lnTo>
                  <a:lnTo>
                    <a:pt x="10800" y="15160"/>
                  </a:lnTo>
                  <a:lnTo>
                    <a:pt x="10998" y="15061"/>
                  </a:lnTo>
                  <a:lnTo>
                    <a:pt x="11295" y="14863"/>
                  </a:lnTo>
                  <a:lnTo>
                    <a:pt x="11593" y="14664"/>
                  </a:lnTo>
                  <a:lnTo>
                    <a:pt x="12088" y="14169"/>
                  </a:lnTo>
                  <a:lnTo>
                    <a:pt x="12385" y="14070"/>
                  </a:lnTo>
                  <a:lnTo>
                    <a:pt x="13970" y="14070"/>
                  </a:lnTo>
                  <a:lnTo>
                    <a:pt x="14565" y="13872"/>
                  </a:lnTo>
                  <a:lnTo>
                    <a:pt x="14763" y="13674"/>
                  </a:lnTo>
                  <a:lnTo>
                    <a:pt x="15060" y="13376"/>
                  </a:lnTo>
                  <a:lnTo>
                    <a:pt x="15655" y="12683"/>
                  </a:lnTo>
                  <a:lnTo>
                    <a:pt x="16051" y="12287"/>
                  </a:lnTo>
                  <a:lnTo>
                    <a:pt x="16249" y="11989"/>
                  </a:lnTo>
                  <a:lnTo>
                    <a:pt x="16249" y="11791"/>
                  </a:lnTo>
                  <a:lnTo>
                    <a:pt x="16546" y="10503"/>
                  </a:lnTo>
                  <a:lnTo>
                    <a:pt x="16745" y="9909"/>
                  </a:lnTo>
                  <a:lnTo>
                    <a:pt x="16745" y="9314"/>
                  </a:lnTo>
                  <a:lnTo>
                    <a:pt x="16745" y="8224"/>
                  </a:lnTo>
                  <a:lnTo>
                    <a:pt x="16646" y="7927"/>
                  </a:lnTo>
                  <a:lnTo>
                    <a:pt x="16546" y="7828"/>
                  </a:lnTo>
                  <a:lnTo>
                    <a:pt x="16348" y="7729"/>
                  </a:lnTo>
                  <a:lnTo>
                    <a:pt x="16150" y="7729"/>
                  </a:lnTo>
                  <a:lnTo>
                    <a:pt x="15952" y="7927"/>
                  </a:lnTo>
                  <a:lnTo>
                    <a:pt x="15556" y="7927"/>
                  </a:lnTo>
                  <a:lnTo>
                    <a:pt x="15457" y="7828"/>
                  </a:lnTo>
                  <a:lnTo>
                    <a:pt x="15358" y="7927"/>
                  </a:lnTo>
                  <a:lnTo>
                    <a:pt x="15358" y="8026"/>
                  </a:lnTo>
                  <a:lnTo>
                    <a:pt x="15258" y="8026"/>
                  </a:lnTo>
                  <a:lnTo>
                    <a:pt x="14961" y="7828"/>
                  </a:lnTo>
                  <a:lnTo>
                    <a:pt x="14763" y="7828"/>
                  </a:lnTo>
                  <a:lnTo>
                    <a:pt x="14466" y="8125"/>
                  </a:lnTo>
                  <a:lnTo>
                    <a:pt x="14070" y="8224"/>
                  </a:lnTo>
                  <a:lnTo>
                    <a:pt x="13970" y="8323"/>
                  </a:lnTo>
                  <a:lnTo>
                    <a:pt x="13871" y="8522"/>
                  </a:lnTo>
                  <a:lnTo>
                    <a:pt x="13574" y="8522"/>
                  </a:lnTo>
                  <a:lnTo>
                    <a:pt x="13376" y="8621"/>
                  </a:lnTo>
                  <a:lnTo>
                    <a:pt x="13178" y="8918"/>
                  </a:lnTo>
                  <a:lnTo>
                    <a:pt x="12484" y="9711"/>
                  </a:lnTo>
                  <a:lnTo>
                    <a:pt x="11989" y="10602"/>
                  </a:lnTo>
                  <a:lnTo>
                    <a:pt x="11890" y="11098"/>
                  </a:lnTo>
                  <a:lnTo>
                    <a:pt x="11791" y="11593"/>
                  </a:lnTo>
                  <a:lnTo>
                    <a:pt x="11791" y="12088"/>
                  </a:lnTo>
                  <a:lnTo>
                    <a:pt x="11791" y="12683"/>
                  </a:lnTo>
                  <a:lnTo>
                    <a:pt x="11791" y="13079"/>
                  </a:lnTo>
                  <a:lnTo>
                    <a:pt x="11692" y="13575"/>
                  </a:lnTo>
                  <a:lnTo>
                    <a:pt x="11494" y="13872"/>
                  </a:lnTo>
                  <a:lnTo>
                    <a:pt x="11196" y="14268"/>
                  </a:lnTo>
                  <a:lnTo>
                    <a:pt x="11097" y="14367"/>
                  </a:lnTo>
                  <a:lnTo>
                    <a:pt x="10899" y="14367"/>
                  </a:lnTo>
                  <a:lnTo>
                    <a:pt x="10800" y="14268"/>
                  </a:lnTo>
                  <a:lnTo>
                    <a:pt x="10800" y="14070"/>
                  </a:lnTo>
                  <a:lnTo>
                    <a:pt x="10998" y="13376"/>
                  </a:lnTo>
                  <a:lnTo>
                    <a:pt x="11196" y="12782"/>
                  </a:lnTo>
                  <a:lnTo>
                    <a:pt x="11295" y="11098"/>
                  </a:lnTo>
                  <a:lnTo>
                    <a:pt x="11295" y="10206"/>
                  </a:lnTo>
                  <a:lnTo>
                    <a:pt x="11196" y="9314"/>
                  </a:lnTo>
                  <a:lnTo>
                    <a:pt x="11295" y="8918"/>
                  </a:lnTo>
                  <a:lnTo>
                    <a:pt x="11494" y="8026"/>
                  </a:lnTo>
                  <a:lnTo>
                    <a:pt x="11791" y="7135"/>
                  </a:lnTo>
                  <a:lnTo>
                    <a:pt x="11890" y="6540"/>
                  </a:lnTo>
                  <a:lnTo>
                    <a:pt x="11890" y="6045"/>
                  </a:lnTo>
                  <a:lnTo>
                    <a:pt x="11791" y="4955"/>
                  </a:lnTo>
                  <a:lnTo>
                    <a:pt x="11494" y="4063"/>
                  </a:lnTo>
                  <a:lnTo>
                    <a:pt x="11097" y="3072"/>
                  </a:lnTo>
                  <a:lnTo>
                    <a:pt x="10701" y="2280"/>
                  </a:lnTo>
                  <a:lnTo>
                    <a:pt x="10206" y="1586"/>
                  </a:lnTo>
                  <a:lnTo>
                    <a:pt x="9710" y="992"/>
                  </a:lnTo>
                  <a:lnTo>
                    <a:pt x="9116" y="397"/>
                  </a:lnTo>
                  <a:lnTo>
                    <a:pt x="8521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  <p:sp>
          <p:nvSpPr>
            <p:cNvPr id="12" name="Google Shape;415;p31">
              <a:extLst>
                <a:ext uri="{FF2B5EF4-FFF2-40B4-BE49-F238E27FC236}">
                  <a16:creationId xmlns:a16="http://schemas.microsoft.com/office/drawing/2014/main" id="{69939BF4-651A-5AEE-4888-2BC60D8FE225}"/>
                </a:ext>
              </a:extLst>
            </p:cNvPr>
            <p:cNvSpPr/>
            <p:nvPr/>
          </p:nvSpPr>
          <p:spPr>
            <a:xfrm>
              <a:off x="3933254" y="1536500"/>
              <a:ext cx="509107" cy="843394"/>
            </a:xfrm>
            <a:custGeom>
              <a:avLst/>
              <a:gdLst/>
              <a:ahLst/>
              <a:cxnLst/>
              <a:rect l="l" t="t" r="r" b="b"/>
              <a:pathLst>
                <a:path w="16448" h="27248" extrusionOk="0">
                  <a:moveTo>
                    <a:pt x="8323" y="1"/>
                  </a:moveTo>
                  <a:lnTo>
                    <a:pt x="8125" y="100"/>
                  </a:lnTo>
                  <a:lnTo>
                    <a:pt x="7827" y="199"/>
                  </a:lnTo>
                  <a:lnTo>
                    <a:pt x="7431" y="595"/>
                  </a:lnTo>
                  <a:lnTo>
                    <a:pt x="7035" y="992"/>
                  </a:lnTo>
                  <a:lnTo>
                    <a:pt x="6440" y="1883"/>
                  </a:lnTo>
                  <a:lnTo>
                    <a:pt x="5846" y="2577"/>
                  </a:lnTo>
                  <a:lnTo>
                    <a:pt x="5450" y="3370"/>
                  </a:lnTo>
                  <a:lnTo>
                    <a:pt x="5152" y="4261"/>
                  </a:lnTo>
                  <a:lnTo>
                    <a:pt x="4954" y="5153"/>
                  </a:lnTo>
                  <a:lnTo>
                    <a:pt x="4954" y="5847"/>
                  </a:lnTo>
                  <a:lnTo>
                    <a:pt x="4954" y="6639"/>
                  </a:lnTo>
                  <a:lnTo>
                    <a:pt x="5053" y="7432"/>
                  </a:lnTo>
                  <a:lnTo>
                    <a:pt x="5152" y="8125"/>
                  </a:lnTo>
                  <a:lnTo>
                    <a:pt x="5350" y="8720"/>
                  </a:lnTo>
                  <a:lnTo>
                    <a:pt x="5450" y="9017"/>
                  </a:lnTo>
                  <a:lnTo>
                    <a:pt x="5450" y="9314"/>
                  </a:lnTo>
                  <a:lnTo>
                    <a:pt x="5350" y="10008"/>
                  </a:lnTo>
                  <a:lnTo>
                    <a:pt x="5350" y="10701"/>
                  </a:lnTo>
                  <a:lnTo>
                    <a:pt x="5450" y="12088"/>
                  </a:lnTo>
                  <a:lnTo>
                    <a:pt x="5549" y="12980"/>
                  </a:lnTo>
                  <a:lnTo>
                    <a:pt x="5846" y="13872"/>
                  </a:lnTo>
                  <a:lnTo>
                    <a:pt x="5846" y="14070"/>
                  </a:lnTo>
                  <a:lnTo>
                    <a:pt x="5747" y="14169"/>
                  </a:lnTo>
                  <a:lnTo>
                    <a:pt x="5648" y="14268"/>
                  </a:lnTo>
                  <a:lnTo>
                    <a:pt x="5152" y="13773"/>
                  </a:lnTo>
                  <a:lnTo>
                    <a:pt x="5053" y="13476"/>
                  </a:lnTo>
                  <a:lnTo>
                    <a:pt x="4855" y="13277"/>
                  </a:lnTo>
                  <a:lnTo>
                    <a:pt x="4855" y="12485"/>
                  </a:lnTo>
                  <a:lnTo>
                    <a:pt x="4855" y="11593"/>
                  </a:lnTo>
                  <a:lnTo>
                    <a:pt x="4657" y="10900"/>
                  </a:lnTo>
                  <a:lnTo>
                    <a:pt x="4459" y="10206"/>
                  </a:lnTo>
                  <a:lnTo>
                    <a:pt x="4062" y="9611"/>
                  </a:lnTo>
                  <a:lnTo>
                    <a:pt x="3567" y="9116"/>
                  </a:lnTo>
                  <a:lnTo>
                    <a:pt x="2973" y="8522"/>
                  </a:lnTo>
                  <a:lnTo>
                    <a:pt x="2675" y="8323"/>
                  </a:lnTo>
                  <a:lnTo>
                    <a:pt x="2180" y="8224"/>
                  </a:lnTo>
                  <a:lnTo>
                    <a:pt x="1883" y="8026"/>
                  </a:lnTo>
                  <a:lnTo>
                    <a:pt x="1685" y="7828"/>
                  </a:lnTo>
                  <a:lnTo>
                    <a:pt x="1288" y="7729"/>
                  </a:lnTo>
                  <a:lnTo>
                    <a:pt x="1189" y="7828"/>
                  </a:lnTo>
                  <a:lnTo>
                    <a:pt x="991" y="7927"/>
                  </a:lnTo>
                  <a:lnTo>
                    <a:pt x="892" y="8026"/>
                  </a:lnTo>
                  <a:lnTo>
                    <a:pt x="793" y="7927"/>
                  </a:lnTo>
                  <a:lnTo>
                    <a:pt x="595" y="7828"/>
                  </a:lnTo>
                  <a:lnTo>
                    <a:pt x="397" y="7828"/>
                  </a:lnTo>
                  <a:lnTo>
                    <a:pt x="198" y="7927"/>
                  </a:lnTo>
                  <a:lnTo>
                    <a:pt x="99" y="8125"/>
                  </a:lnTo>
                  <a:lnTo>
                    <a:pt x="0" y="8918"/>
                  </a:lnTo>
                  <a:lnTo>
                    <a:pt x="0" y="9909"/>
                  </a:lnTo>
                  <a:lnTo>
                    <a:pt x="198" y="10900"/>
                  </a:lnTo>
                  <a:lnTo>
                    <a:pt x="595" y="11890"/>
                  </a:lnTo>
                  <a:lnTo>
                    <a:pt x="793" y="12287"/>
                  </a:lnTo>
                  <a:lnTo>
                    <a:pt x="1090" y="12683"/>
                  </a:lnTo>
                  <a:lnTo>
                    <a:pt x="1586" y="13277"/>
                  </a:lnTo>
                  <a:lnTo>
                    <a:pt x="2180" y="13773"/>
                  </a:lnTo>
                  <a:lnTo>
                    <a:pt x="2576" y="13971"/>
                  </a:lnTo>
                  <a:lnTo>
                    <a:pt x="2874" y="14070"/>
                  </a:lnTo>
                  <a:lnTo>
                    <a:pt x="3270" y="14169"/>
                  </a:lnTo>
                  <a:lnTo>
                    <a:pt x="3666" y="14169"/>
                  </a:lnTo>
                  <a:lnTo>
                    <a:pt x="4062" y="14070"/>
                  </a:lnTo>
                  <a:lnTo>
                    <a:pt x="4360" y="14169"/>
                  </a:lnTo>
                  <a:lnTo>
                    <a:pt x="4954" y="14367"/>
                  </a:lnTo>
                  <a:lnTo>
                    <a:pt x="5450" y="14764"/>
                  </a:lnTo>
                  <a:lnTo>
                    <a:pt x="5945" y="15259"/>
                  </a:lnTo>
                  <a:lnTo>
                    <a:pt x="6143" y="15556"/>
                  </a:lnTo>
                  <a:lnTo>
                    <a:pt x="6242" y="15853"/>
                  </a:lnTo>
                  <a:lnTo>
                    <a:pt x="6440" y="16547"/>
                  </a:lnTo>
                  <a:lnTo>
                    <a:pt x="6837" y="17835"/>
                  </a:lnTo>
                  <a:lnTo>
                    <a:pt x="7134" y="18529"/>
                  </a:lnTo>
                  <a:lnTo>
                    <a:pt x="7530" y="19123"/>
                  </a:lnTo>
                  <a:lnTo>
                    <a:pt x="7728" y="19519"/>
                  </a:lnTo>
                  <a:lnTo>
                    <a:pt x="7728" y="19717"/>
                  </a:lnTo>
                  <a:lnTo>
                    <a:pt x="7629" y="20015"/>
                  </a:lnTo>
                  <a:lnTo>
                    <a:pt x="7629" y="19916"/>
                  </a:lnTo>
                  <a:lnTo>
                    <a:pt x="7530" y="19817"/>
                  </a:lnTo>
                  <a:lnTo>
                    <a:pt x="7233" y="19817"/>
                  </a:lnTo>
                  <a:lnTo>
                    <a:pt x="7035" y="19717"/>
                  </a:lnTo>
                  <a:lnTo>
                    <a:pt x="6936" y="19618"/>
                  </a:lnTo>
                  <a:lnTo>
                    <a:pt x="6936" y="19519"/>
                  </a:lnTo>
                  <a:lnTo>
                    <a:pt x="6837" y="19123"/>
                  </a:lnTo>
                  <a:lnTo>
                    <a:pt x="6639" y="18727"/>
                  </a:lnTo>
                  <a:lnTo>
                    <a:pt x="6044" y="18132"/>
                  </a:lnTo>
                  <a:lnTo>
                    <a:pt x="5450" y="17637"/>
                  </a:lnTo>
                  <a:lnTo>
                    <a:pt x="4855" y="17141"/>
                  </a:lnTo>
                  <a:lnTo>
                    <a:pt x="4162" y="16844"/>
                  </a:lnTo>
                  <a:lnTo>
                    <a:pt x="3468" y="16646"/>
                  </a:lnTo>
                  <a:lnTo>
                    <a:pt x="2774" y="16448"/>
                  </a:lnTo>
                  <a:lnTo>
                    <a:pt x="2081" y="16349"/>
                  </a:lnTo>
                  <a:lnTo>
                    <a:pt x="1387" y="16448"/>
                  </a:lnTo>
                  <a:lnTo>
                    <a:pt x="694" y="16745"/>
                  </a:lnTo>
                  <a:lnTo>
                    <a:pt x="496" y="16943"/>
                  </a:lnTo>
                  <a:lnTo>
                    <a:pt x="397" y="17042"/>
                  </a:lnTo>
                  <a:lnTo>
                    <a:pt x="496" y="17241"/>
                  </a:lnTo>
                  <a:lnTo>
                    <a:pt x="793" y="18231"/>
                  </a:lnTo>
                  <a:lnTo>
                    <a:pt x="1090" y="18727"/>
                  </a:lnTo>
                  <a:lnTo>
                    <a:pt x="1387" y="19123"/>
                  </a:lnTo>
                  <a:lnTo>
                    <a:pt x="2180" y="19817"/>
                  </a:lnTo>
                  <a:lnTo>
                    <a:pt x="2576" y="20114"/>
                  </a:lnTo>
                  <a:lnTo>
                    <a:pt x="3072" y="20411"/>
                  </a:lnTo>
                  <a:lnTo>
                    <a:pt x="3765" y="20708"/>
                  </a:lnTo>
                  <a:lnTo>
                    <a:pt x="4459" y="20807"/>
                  </a:lnTo>
                  <a:lnTo>
                    <a:pt x="5251" y="20906"/>
                  </a:lnTo>
                  <a:lnTo>
                    <a:pt x="6044" y="20807"/>
                  </a:lnTo>
                  <a:lnTo>
                    <a:pt x="6440" y="20609"/>
                  </a:lnTo>
                  <a:lnTo>
                    <a:pt x="6738" y="20510"/>
                  </a:lnTo>
                  <a:lnTo>
                    <a:pt x="7134" y="20411"/>
                  </a:lnTo>
                  <a:lnTo>
                    <a:pt x="7332" y="20510"/>
                  </a:lnTo>
                  <a:lnTo>
                    <a:pt x="7530" y="20609"/>
                  </a:lnTo>
                  <a:lnTo>
                    <a:pt x="7827" y="20708"/>
                  </a:lnTo>
                  <a:lnTo>
                    <a:pt x="8125" y="20807"/>
                  </a:lnTo>
                  <a:lnTo>
                    <a:pt x="8323" y="20906"/>
                  </a:lnTo>
                  <a:lnTo>
                    <a:pt x="8521" y="21005"/>
                  </a:lnTo>
                  <a:lnTo>
                    <a:pt x="8719" y="21402"/>
                  </a:lnTo>
                  <a:lnTo>
                    <a:pt x="9115" y="21798"/>
                  </a:lnTo>
                  <a:lnTo>
                    <a:pt x="9413" y="22194"/>
                  </a:lnTo>
                  <a:lnTo>
                    <a:pt x="9512" y="22393"/>
                  </a:lnTo>
                  <a:lnTo>
                    <a:pt x="9512" y="22690"/>
                  </a:lnTo>
                  <a:lnTo>
                    <a:pt x="9908" y="22987"/>
                  </a:lnTo>
                  <a:lnTo>
                    <a:pt x="10106" y="23383"/>
                  </a:lnTo>
                  <a:lnTo>
                    <a:pt x="10403" y="23780"/>
                  </a:lnTo>
                  <a:lnTo>
                    <a:pt x="10602" y="24176"/>
                  </a:lnTo>
                  <a:lnTo>
                    <a:pt x="10701" y="24374"/>
                  </a:lnTo>
                  <a:lnTo>
                    <a:pt x="9908" y="24374"/>
                  </a:lnTo>
                  <a:lnTo>
                    <a:pt x="9611" y="24275"/>
                  </a:lnTo>
                  <a:lnTo>
                    <a:pt x="9215" y="23978"/>
                  </a:lnTo>
                  <a:lnTo>
                    <a:pt x="8818" y="23681"/>
                  </a:lnTo>
                  <a:lnTo>
                    <a:pt x="8026" y="23383"/>
                  </a:lnTo>
                  <a:lnTo>
                    <a:pt x="7134" y="23185"/>
                  </a:lnTo>
                  <a:lnTo>
                    <a:pt x="6143" y="23086"/>
                  </a:lnTo>
                  <a:lnTo>
                    <a:pt x="5450" y="23185"/>
                  </a:lnTo>
                  <a:lnTo>
                    <a:pt x="5053" y="23284"/>
                  </a:lnTo>
                  <a:lnTo>
                    <a:pt x="4756" y="23581"/>
                  </a:lnTo>
                  <a:lnTo>
                    <a:pt x="4062" y="24374"/>
                  </a:lnTo>
                  <a:lnTo>
                    <a:pt x="3270" y="25167"/>
                  </a:lnTo>
                  <a:lnTo>
                    <a:pt x="3072" y="25464"/>
                  </a:lnTo>
                  <a:lnTo>
                    <a:pt x="3072" y="25761"/>
                  </a:lnTo>
                  <a:lnTo>
                    <a:pt x="3171" y="25959"/>
                  </a:lnTo>
                  <a:lnTo>
                    <a:pt x="3369" y="26058"/>
                  </a:lnTo>
                  <a:lnTo>
                    <a:pt x="3666" y="26356"/>
                  </a:lnTo>
                  <a:lnTo>
                    <a:pt x="4162" y="26653"/>
                  </a:lnTo>
                  <a:lnTo>
                    <a:pt x="5053" y="27049"/>
                  </a:lnTo>
                  <a:lnTo>
                    <a:pt x="5251" y="27148"/>
                  </a:lnTo>
                  <a:lnTo>
                    <a:pt x="5549" y="27148"/>
                  </a:lnTo>
                  <a:lnTo>
                    <a:pt x="5945" y="27049"/>
                  </a:lnTo>
                  <a:lnTo>
                    <a:pt x="6341" y="26851"/>
                  </a:lnTo>
                  <a:lnTo>
                    <a:pt x="6539" y="26851"/>
                  </a:lnTo>
                  <a:lnTo>
                    <a:pt x="6738" y="26950"/>
                  </a:lnTo>
                  <a:lnTo>
                    <a:pt x="6837" y="26950"/>
                  </a:lnTo>
                  <a:lnTo>
                    <a:pt x="6837" y="26851"/>
                  </a:lnTo>
                  <a:lnTo>
                    <a:pt x="6837" y="26752"/>
                  </a:lnTo>
                  <a:lnTo>
                    <a:pt x="7134" y="26554"/>
                  </a:lnTo>
                  <a:lnTo>
                    <a:pt x="7233" y="26554"/>
                  </a:lnTo>
                  <a:lnTo>
                    <a:pt x="7233" y="26653"/>
                  </a:lnTo>
                  <a:lnTo>
                    <a:pt x="7233" y="26851"/>
                  </a:lnTo>
                  <a:lnTo>
                    <a:pt x="7431" y="26752"/>
                  </a:lnTo>
                  <a:lnTo>
                    <a:pt x="7431" y="26653"/>
                  </a:lnTo>
                  <a:lnTo>
                    <a:pt x="7629" y="26554"/>
                  </a:lnTo>
                  <a:lnTo>
                    <a:pt x="8125" y="26356"/>
                  </a:lnTo>
                  <a:lnTo>
                    <a:pt x="8620" y="26058"/>
                  </a:lnTo>
                  <a:lnTo>
                    <a:pt x="8917" y="25662"/>
                  </a:lnTo>
                  <a:lnTo>
                    <a:pt x="9314" y="25365"/>
                  </a:lnTo>
                  <a:lnTo>
                    <a:pt x="9809" y="25167"/>
                  </a:lnTo>
                  <a:lnTo>
                    <a:pt x="10304" y="25068"/>
                  </a:lnTo>
                  <a:lnTo>
                    <a:pt x="10998" y="24969"/>
                  </a:lnTo>
                  <a:lnTo>
                    <a:pt x="11295" y="25068"/>
                  </a:lnTo>
                  <a:lnTo>
                    <a:pt x="11592" y="25266"/>
                  </a:lnTo>
                  <a:lnTo>
                    <a:pt x="12088" y="25563"/>
                  </a:lnTo>
                  <a:lnTo>
                    <a:pt x="12484" y="25959"/>
                  </a:lnTo>
                  <a:lnTo>
                    <a:pt x="12880" y="26257"/>
                  </a:lnTo>
                  <a:lnTo>
                    <a:pt x="13376" y="26653"/>
                  </a:lnTo>
                  <a:lnTo>
                    <a:pt x="14367" y="27049"/>
                  </a:lnTo>
                  <a:lnTo>
                    <a:pt x="14862" y="27247"/>
                  </a:lnTo>
                  <a:lnTo>
                    <a:pt x="15853" y="27247"/>
                  </a:lnTo>
                  <a:lnTo>
                    <a:pt x="15853" y="27049"/>
                  </a:lnTo>
                  <a:lnTo>
                    <a:pt x="15853" y="26950"/>
                  </a:lnTo>
                  <a:lnTo>
                    <a:pt x="15754" y="26752"/>
                  </a:lnTo>
                  <a:lnTo>
                    <a:pt x="15655" y="26653"/>
                  </a:lnTo>
                  <a:lnTo>
                    <a:pt x="15456" y="26554"/>
                  </a:lnTo>
                  <a:lnTo>
                    <a:pt x="15159" y="26455"/>
                  </a:lnTo>
                  <a:lnTo>
                    <a:pt x="14961" y="26356"/>
                  </a:lnTo>
                  <a:lnTo>
                    <a:pt x="14466" y="25959"/>
                  </a:lnTo>
                  <a:lnTo>
                    <a:pt x="13970" y="25563"/>
                  </a:lnTo>
                  <a:lnTo>
                    <a:pt x="13475" y="25167"/>
                  </a:lnTo>
                  <a:lnTo>
                    <a:pt x="12979" y="24770"/>
                  </a:lnTo>
                  <a:lnTo>
                    <a:pt x="12781" y="24572"/>
                  </a:lnTo>
                  <a:lnTo>
                    <a:pt x="12682" y="24473"/>
                  </a:lnTo>
                  <a:lnTo>
                    <a:pt x="12781" y="24374"/>
                  </a:lnTo>
                  <a:lnTo>
                    <a:pt x="12979" y="23978"/>
                  </a:lnTo>
                  <a:lnTo>
                    <a:pt x="13079" y="23780"/>
                  </a:lnTo>
                  <a:lnTo>
                    <a:pt x="13277" y="23780"/>
                  </a:lnTo>
                  <a:lnTo>
                    <a:pt x="13871" y="23681"/>
                  </a:lnTo>
                  <a:lnTo>
                    <a:pt x="14367" y="23482"/>
                  </a:lnTo>
                  <a:lnTo>
                    <a:pt x="14862" y="23185"/>
                  </a:lnTo>
                  <a:lnTo>
                    <a:pt x="15258" y="22789"/>
                  </a:lnTo>
                  <a:lnTo>
                    <a:pt x="15853" y="21996"/>
                  </a:lnTo>
                  <a:lnTo>
                    <a:pt x="16051" y="21501"/>
                  </a:lnTo>
                  <a:lnTo>
                    <a:pt x="16249" y="21005"/>
                  </a:lnTo>
                  <a:lnTo>
                    <a:pt x="16348" y="20411"/>
                  </a:lnTo>
                  <a:lnTo>
                    <a:pt x="16447" y="19717"/>
                  </a:lnTo>
                  <a:lnTo>
                    <a:pt x="16447" y="19123"/>
                  </a:lnTo>
                  <a:lnTo>
                    <a:pt x="16447" y="18628"/>
                  </a:lnTo>
                  <a:lnTo>
                    <a:pt x="16348" y="18132"/>
                  </a:lnTo>
                  <a:lnTo>
                    <a:pt x="16249" y="17538"/>
                  </a:lnTo>
                  <a:lnTo>
                    <a:pt x="16150" y="17340"/>
                  </a:lnTo>
                  <a:lnTo>
                    <a:pt x="15952" y="17241"/>
                  </a:lnTo>
                  <a:lnTo>
                    <a:pt x="15754" y="17141"/>
                  </a:lnTo>
                  <a:lnTo>
                    <a:pt x="15655" y="17241"/>
                  </a:lnTo>
                  <a:lnTo>
                    <a:pt x="15159" y="17439"/>
                  </a:lnTo>
                  <a:lnTo>
                    <a:pt x="14763" y="17538"/>
                  </a:lnTo>
                  <a:lnTo>
                    <a:pt x="14267" y="17934"/>
                  </a:lnTo>
                  <a:lnTo>
                    <a:pt x="13772" y="18330"/>
                  </a:lnTo>
                  <a:lnTo>
                    <a:pt x="13079" y="18925"/>
                  </a:lnTo>
                  <a:lnTo>
                    <a:pt x="12583" y="19519"/>
                  </a:lnTo>
                  <a:lnTo>
                    <a:pt x="12286" y="20213"/>
                  </a:lnTo>
                  <a:lnTo>
                    <a:pt x="12088" y="21005"/>
                  </a:lnTo>
                  <a:lnTo>
                    <a:pt x="11989" y="21600"/>
                  </a:lnTo>
                  <a:lnTo>
                    <a:pt x="12088" y="22194"/>
                  </a:lnTo>
                  <a:lnTo>
                    <a:pt x="12286" y="23284"/>
                  </a:lnTo>
                  <a:lnTo>
                    <a:pt x="12385" y="23482"/>
                  </a:lnTo>
                  <a:lnTo>
                    <a:pt x="12385" y="23581"/>
                  </a:lnTo>
                  <a:lnTo>
                    <a:pt x="12286" y="23681"/>
                  </a:lnTo>
                  <a:lnTo>
                    <a:pt x="12088" y="23780"/>
                  </a:lnTo>
                  <a:lnTo>
                    <a:pt x="11890" y="23681"/>
                  </a:lnTo>
                  <a:lnTo>
                    <a:pt x="11592" y="23383"/>
                  </a:lnTo>
                  <a:lnTo>
                    <a:pt x="11295" y="23086"/>
                  </a:lnTo>
                  <a:lnTo>
                    <a:pt x="10998" y="22789"/>
                  </a:lnTo>
                  <a:lnTo>
                    <a:pt x="10701" y="22492"/>
                  </a:lnTo>
                  <a:lnTo>
                    <a:pt x="9314" y="20609"/>
                  </a:lnTo>
                  <a:lnTo>
                    <a:pt x="9215" y="20411"/>
                  </a:lnTo>
                  <a:lnTo>
                    <a:pt x="9314" y="20213"/>
                  </a:lnTo>
                  <a:lnTo>
                    <a:pt x="9611" y="19618"/>
                  </a:lnTo>
                  <a:lnTo>
                    <a:pt x="9908" y="19024"/>
                  </a:lnTo>
                  <a:lnTo>
                    <a:pt x="10007" y="18826"/>
                  </a:lnTo>
                  <a:lnTo>
                    <a:pt x="10304" y="18925"/>
                  </a:lnTo>
                  <a:lnTo>
                    <a:pt x="10701" y="18925"/>
                  </a:lnTo>
                  <a:lnTo>
                    <a:pt x="11097" y="18826"/>
                  </a:lnTo>
                  <a:lnTo>
                    <a:pt x="11592" y="18628"/>
                  </a:lnTo>
                  <a:lnTo>
                    <a:pt x="11989" y="18330"/>
                  </a:lnTo>
                  <a:lnTo>
                    <a:pt x="12286" y="17934"/>
                  </a:lnTo>
                  <a:lnTo>
                    <a:pt x="12583" y="17538"/>
                  </a:lnTo>
                  <a:lnTo>
                    <a:pt x="12979" y="16745"/>
                  </a:lnTo>
                  <a:lnTo>
                    <a:pt x="13376" y="15853"/>
                  </a:lnTo>
                  <a:lnTo>
                    <a:pt x="13772" y="14169"/>
                  </a:lnTo>
                  <a:lnTo>
                    <a:pt x="13772" y="13971"/>
                  </a:lnTo>
                  <a:lnTo>
                    <a:pt x="13475" y="13971"/>
                  </a:lnTo>
                  <a:lnTo>
                    <a:pt x="13376" y="13872"/>
                  </a:lnTo>
                  <a:lnTo>
                    <a:pt x="13178" y="13773"/>
                  </a:lnTo>
                  <a:lnTo>
                    <a:pt x="12979" y="13773"/>
                  </a:lnTo>
                  <a:lnTo>
                    <a:pt x="12286" y="13971"/>
                  </a:lnTo>
                  <a:lnTo>
                    <a:pt x="11493" y="14169"/>
                  </a:lnTo>
                  <a:lnTo>
                    <a:pt x="10899" y="14565"/>
                  </a:lnTo>
                  <a:lnTo>
                    <a:pt x="10602" y="14764"/>
                  </a:lnTo>
                  <a:lnTo>
                    <a:pt x="10304" y="15061"/>
                  </a:lnTo>
                  <a:lnTo>
                    <a:pt x="9908" y="15556"/>
                  </a:lnTo>
                  <a:lnTo>
                    <a:pt x="9611" y="16052"/>
                  </a:lnTo>
                  <a:lnTo>
                    <a:pt x="9512" y="16547"/>
                  </a:lnTo>
                  <a:lnTo>
                    <a:pt x="9413" y="17042"/>
                  </a:lnTo>
                  <a:lnTo>
                    <a:pt x="9413" y="18132"/>
                  </a:lnTo>
                  <a:lnTo>
                    <a:pt x="9314" y="18529"/>
                  </a:lnTo>
                  <a:lnTo>
                    <a:pt x="9215" y="18826"/>
                  </a:lnTo>
                  <a:lnTo>
                    <a:pt x="8719" y="19519"/>
                  </a:lnTo>
                  <a:lnTo>
                    <a:pt x="8323" y="18727"/>
                  </a:lnTo>
                  <a:lnTo>
                    <a:pt x="7927" y="17934"/>
                  </a:lnTo>
                  <a:lnTo>
                    <a:pt x="7629" y="17141"/>
                  </a:lnTo>
                  <a:lnTo>
                    <a:pt x="7431" y="16349"/>
                  </a:lnTo>
                  <a:lnTo>
                    <a:pt x="7332" y="15952"/>
                  </a:lnTo>
                  <a:lnTo>
                    <a:pt x="7431" y="15358"/>
                  </a:lnTo>
                  <a:lnTo>
                    <a:pt x="7629" y="14466"/>
                  </a:lnTo>
                  <a:lnTo>
                    <a:pt x="7728" y="14169"/>
                  </a:lnTo>
                  <a:lnTo>
                    <a:pt x="8026" y="13971"/>
                  </a:lnTo>
                  <a:lnTo>
                    <a:pt x="8224" y="13872"/>
                  </a:lnTo>
                  <a:lnTo>
                    <a:pt x="8521" y="13872"/>
                  </a:lnTo>
                  <a:lnTo>
                    <a:pt x="9016" y="13773"/>
                  </a:lnTo>
                  <a:lnTo>
                    <a:pt x="9512" y="13575"/>
                  </a:lnTo>
                  <a:lnTo>
                    <a:pt x="10007" y="13178"/>
                  </a:lnTo>
                  <a:lnTo>
                    <a:pt x="10503" y="12782"/>
                  </a:lnTo>
                  <a:lnTo>
                    <a:pt x="10899" y="12287"/>
                  </a:lnTo>
                  <a:lnTo>
                    <a:pt x="11295" y="11692"/>
                  </a:lnTo>
                  <a:lnTo>
                    <a:pt x="11791" y="10602"/>
                  </a:lnTo>
                  <a:lnTo>
                    <a:pt x="11989" y="10008"/>
                  </a:lnTo>
                  <a:lnTo>
                    <a:pt x="12187" y="9314"/>
                  </a:lnTo>
                  <a:lnTo>
                    <a:pt x="12187" y="8621"/>
                  </a:lnTo>
                  <a:lnTo>
                    <a:pt x="12286" y="8323"/>
                  </a:lnTo>
                  <a:lnTo>
                    <a:pt x="12385" y="7927"/>
                  </a:lnTo>
                  <a:lnTo>
                    <a:pt x="12385" y="7729"/>
                  </a:lnTo>
                  <a:lnTo>
                    <a:pt x="12385" y="7531"/>
                  </a:lnTo>
                  <a:lnTo>
                    <a:pt x="12187" y="7432"/>
                  </a:lnTo>
                  <a:lnTo>
                    <a:pt x="11394" y="7432"/>
                  </a:lnTo>
                  <a:lnTo>
                    <a:pt x="10602" y="7531"/>
                  </a:lnTo>
                  <a:lnTo>
                    <a:pt x="10205" y="7630"/>
                  </a:lnTo>
                  <a:lnTo>
                    <a:pt x="9809" y="7927"/>
                  </a:lnTo>
                  <a:lnTo>
                    <a:pt x="9016" y="8423"/>
                  </a:lnTo>
                  <a:lnTo>
                    <a:pt x="8422" y="9017"/>
                  </a:lnTo>
                  <a:lnTo>
                    <a:pt x="7827" y="9611"/>
                  </a:lnTo>
                  <a:lnTo>
                    <a:pt x="7431" y="10305"/>
                  </a:lnTo>
                  <a:lnTo>
                    <a:pt x="7134" y="11098"/>
                  </a:lnTo>
                  <a:lnTo>
                    <a:pt x="6936" y="11593"/>
                  </a:lnTo>
                  <a:lnTo>
                    <a:pt x="6936" y="11890"/>
                  </a:lnTo>
                  <a:lnTo>
                    <a:pt x="7134" y="12188"/>
                  </a:lnTo>
                  <a:lnTo>
                    <a:pt x="7332" y="12683"/>
                  </a:lnTo>
                  <a:lnTo>
                    <a:pt x="7332" y="13178"/>
                  </a:lnTo>
                  <a:lnTo>
                    <a:pt x="7233" y="13674"/>
                  </a:lnTo>
                  <a:lnTo>
                    <a:pt x="6837" y="14169"/>
                  </a:lnTo>
                  <a:lnTo>
                    <a:pt x="6738" y="14466"/>
                  </a:lnTo>
                  <a:lnTo>
                    <a:pt x="6341" y="13079"/>
                  </a:lnTo>
                  <a:lnTo>
                    <a:pt x="6242" y="12386"/>
                  </a:lnTo>
                  <a:lnTo>
                    <a:pt x="6143" y="11791"/>
                  </a:lnTo>
                  <a:lnTo>
                    <a:pt x="6044" y="11098"/>
                  </a:lnTo>
                  <a:lnTo>
                    <a:pt x="5945" y="10404"/>
                  </a:lnTo>
                  <a:lnTo>
                    <a:pt x="6044" y="10008"/>
                  </a:lnTo>
                  <a:lnTo>
                    <a:pt x="6143" y="9711"/>
                  </a:lnTo>
                  <a:lnTo>
                    <a:pt x="6341" y="9413"/>
                  </a:lnTo>
                  <a:lnTo>
                    <a:pt x="6738" y="9215"/>
                  </a:lnTo>
                  <a:lnTo>
                    <a:pt x="6936" y="8918"/>
                  </a:lnTo>
                  <a:lnTo>
                    <a:pt x="7035" y="8720"/>
                  </a:lnTo>
                  <a:lnTo>
                    <a:pt x="7233" y="8522"/>
                  </a:lnTo>
                  <a:lnTo>
                    <a:pt x="7530" y="8323"/>
                  </a:lnTo>
                  <a:lnTo>
                    <a:pt x="7530" y="8224"/>
                  </a:lnTo>
                  <a:lnTo>
                    <a:pt x="7530" y="8026"/>
                  </a:lnTo>
                  <a:lnTo>
                    <a:pt x="7728" y="7729"/>
                  </a:lnTo>
                  <a:lnTo>
                    <a:pt x="8026" y="7333"/>
                  </a:lnTo>
                  <a:lnTo>
                    <a:pt x="8521" y="6342"/>
                  </a:lnTo>
                  <a:lnTo>
                    <a:pt x="8818" y="5351"/>
                  </a:lnTo>
                  <a:lnTo>
                    <a:pt x="9016" y="4658"/>
                  </a:lnTo>
                  <a:lnTo>
                    <a:pt x="9115" y="3865"/>
                  </a:lnTo>
                  <a:lnTo>
                    <a:pt x="9115" y="2379"/>
                  </a:lnTo>
                  <a:lnTo>
                    <a:pt x="9016" y="1388"/>
                  </a:lnTo>
                  <a:lnTo>
                    <a:pt x="8917" y="893"/>
                  </a:lnTo>
                  <a:lnTo>
                    <a:pt x="8818" y="397"/>
                  </a:lnTo>
                  <a:lnTo>
                    <a:pt x="8620" y="100"/>
                  </a:lnTo>
                  <a:lnTo>
                    <a:pt x="8323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  <p:sp>
          <p:nvSpPr>
            <p:cNvPr id="13" name="Google Shape;416;p31">
              <a:extLst>
                <a:ext uri="{FF2B5EF4-FFF2-40B4-BE49-F238E27FC236}">
                  <a16:creationId xmlns:a16="http://schemas.microsoft.com/office/drawing/2014/main" id="{A8519EF4-3947-B8E7-1336-283BCF6C8B11}"/>
                </a:ext>
              </a:extLst>
            </p:cNvPr>
            <p:cNvSpPr/>
            <p:nvPr/>
          </p:nvSpPr>
          <p:spPr>
            <a:xfrm>
              <a:off x="4384042" y="1481313"/>
              <a:ext cx="377249" cy="518300"/>
            </a:xfrm>
            <a:custGeom>
              <a:avLst/>
              <a:gdLst/>
              <a:ahLst/>
              <a:cxnLst/>
              <a:rect l="l" t="t" r="r" b="b"/>
              <a:pathLst>
                <a:path w="12188" h="16745" extrusionOk="0">
                  <a:moveTo>
                    <a:pt x="5351" y="1"/>
                  </a:moveTo>
                  <a:lnTo>
                    <a:pt x="4856" y="100"/>
                  </a:lnTo>
                  <a:lnTo>
                    <a:pt x="4360" y="298"/>
                  </a:lnTo>
                  <a:lnTo>
                    <a:pt x="3468" y="1090"/>
                  </a:lnTo>
                  <a:lnTo>
                    <a:pt x="2577" y="1883"/>
                  </a:lnTo>
                  <a:lnTo>
                    <a:pt x="1388" y="3369"/>
                  </a:lnTo>
                  <a:lnTo>
                    <a:pt x="100" y="4855"/>
                  </a:lnTo>
                  <a:lnTo>
                    <a:pt x="1" y="5054"/>
                  </a:lnTo>
                  <a:lnTo>
                    <a:pt x="100" y="5351"/>
                  </a:lnTo>
                  <a:lnTo>
                    <a:pt x="992" y="6342"/>
                  </a:lnTo>
                  <a:lnTo>
                    <a:pt x="1883" y="7431"/>
                  </a:lnTo>
                  <a:lnTo>
                    <a:pt x="2180" y="7630"/>
                  </a:lnTo>
                  <a:lnTo>
                    <a:pt x="2478" y="7729"/>
                  </a:lnTo>
                  <a:lnTo>
                    <a:pt x="2775" y="7630"/>
                  </a:lnTo>
                  <a:lnTo>
                    <a:pt x="2973" y="7431"/>
                  </a:lnTo>
                  <a:lnTo>
                    <a:pt x="3568" y="6738"/>
                  </a:lnTo>
                  <a:lnTo>
                    <a:pt x="4162" y="6143"/>
                  </a:lnTo>
                  <a:lnTo>
                    <a:pt x="4162" y="5945"/>
                  </a:lnTo>
                  <a:lnTo>
                    <a:pt x="4261" y="5846"/>
                  </a:lnTo>
                  <a:lnTo>
                    <a:pt x="4360" y="5846"/>
                  </a:lnTo>
                  <a:lnTo>
                    <a:pt x="4657" y="6143"/>
                  </a:lnTo>
                  <a:lnTo>
                    <a:pt x="4657" y="6342"/>
                  </a:lnTo>
                  <a:lnTo>
                    <a:pt x="4558" y="6936"/>
                  </a:lnTo>
                  <a:lnTo>
                    <a:pt x="4558" y="7530"/>
                  </a:lnTo>
                  <a:lnTo>
                    <a:pt x="4657" y="8125"/>
                  </a:lnTo>
                  <a:lnTo>
                    <a:pt x="4558" y="8719"/>
                  </a:lnTo>
                  <a:lnTo>
                    <a:pt x="4459" y="9116"/>
                  </a:lnTo>
                  <a:lnTo>
                    <a:pt x="4459" y="9512"/>
                  </a:lnTo>
                  <a:lnTo>
                    <a:pt x="4459" y="10206"/>
                  </a:lnTo>
                  <a:lnTo>
                    <a:pt x="4360" y="11196"/>
                  </a:lnTo>
                  <a:lnTo>
                    <a:pt x="4459" y="12088"/>
                  </a:lnTo>
                  <a:lnTo>
                    <a:pt x="4459" y="12385"/>
                  </a:lnTo>
                  <a:lnTo>
                    <a:pt x="4459" y="12484"/>
                  </a:lnTo>
                  <a:lnTo>
                    <a:pt x="4063" y="12484"/>
                  </a:lnTo>
                  <a:lnTo>
                    <a:pt x="3171" y="12583"/>
                  </a:lnTo>
                  <a:lnTo>
                    <a:pt x="2180" y="12683"/>
                  </a:lnTo>
                  <a:lnTo>
                    <a:pt x="1982" y="12683"/>
                  </a:lnTo>
                  <a:lnTo>
                    <a:pt x="1784" y="12782"/>
                  </a:lnTo>
                  <a:lnTo>
                    <a:pt x="1685" y="12980"/>
                  </a:lnTo>
                  <a:lnTo>
                    <a:pt x="1586" y="13178"/>
                  </a:lnTo>
                  <a:lnTo>
                    <a:pt x="1388" y="15556"/>
                  </a:lnTo>
                  <a:lnTo>
                    <a:pt x="1388" y="16150"/>
                  </a:lnTo>
                  <a:lnTo>
                    <a:pt x="1487" y="16447"/>
                  </a:lnTo>
                  <a:lnTo>
                    <a:pt x="1784" y="16646"/>
                  </a:lnTo>
                  <a:lnTo>
                    <a:pt x="2379" y="16745"/>
                  </a:lnTo>
                  <a:lnTo>
                    <a:pt x="5252" y="16646"/>
                  </a:lnTo>
                  <a:lnTo>
                    <a:pt x="8224" y="16646"/>
                  </a:lnTo>
                  <a:lnTo>
                    <a:pt x="9116" y="16447"/>
                  </a:lnTo>
                  <a:lnTo>
                    <a:pt x="10800" y="16447"/>
                  </a:lnTo>
                  <a:lnTo>
                    <a:pt x="11395" y="16348"/>
                  </a:lnTo>
                  <a:lnTo>
                    <a:pt x="11692" y="16348"/>
                  </a:lnTo>
                  <a:lnTo>
                    <a:pt x="11791" y="16249"/>
                  </a:lnTo>
                  <a:lnTo>
                    <a:pt x="11989" y="15655"/>
                  </a:lnTo>
                  <a:lnTo>
                    <a:pt x="12088" y="15358"/>
                  </a:lnTo>
                  <a:lnTo>
                    <a:pt x="12187" y="15060"/>
                  </a:lnTo>
                  <a:lnTo>
                    <a:pt x="12088" y="14961"/>
                  </a:lnTo>
                  <a:lnTo>
                    <a:pt x="11989" y="14862"/>
                  </a:lnTo>
                  <a:lnTo>
                    <a:pt x="11890" y="14763"/>
                  </a:lnTo>
                  <a:lnTo>
                    <a:pt x="11989" y="14664"/>
                  </a:lnTo>
                  <a:lnTo>
                    <a:pt x="12187" y="14367"/>
                  </a:lnTo>
                  <a:lnTo>
                    <a:pt x="12187" y="14070"/>
                  </a:lnTo>
                  <a:lnTo>
                    <a:pt x="12187" y="13772"/>
                  </a:lnTo>
                  <a:lnTo>
                    <a:pt x="12187" y="13475"/>
                  </a:lnTo>
                  <a:lnTo>
                    <a:pt x="12187" y="13178"/>
                  </a:lnTo>
                  <a:lnTo>
                    <a:pt x="12088" y="12881"/>
                  </a:lnTo>
                  <a:lnTo>
                    <a:pt x="11890" y="12782"/>
                  </a:lnTo>
                  <a:lnTo>
                    <a:pt x="11494" y="12683"/>
                  </a:lnTo>
                  <a:lnTo>
                    <a:pt x="9710" y="12683"/>
                  </a:lnTo>
                  <a:lnTo>
                    <a:pt x="9611" y="12583"/>
                  </a:lnTo>
                  <a:lnTo>
                    <a:pt x="9512" y="12583"/>
                  </a:lnTo>
                  <a:lnTo>
                    <a:pt x="9512" y="12385"/>
                  </a:lnTo>
                  <a:lnTo>
                    <a:pt x="9314" y="9809"/>
                  </a:lnTo>
                  <a:lnTo>
                    <a:pt x="9215" y="8323"/>
                  </a:lnTo>
                  <a:lnTo>
                    <a:pt x="9215" y="7630"/>
                  </a:lnTo>
                  <a:lnTo>
                    <a:pt x="9215" y="6837"/>
                  </a:lnTo>
                  <a:lnTo>
                    <a:pt x="9314" y="6143"/>
                  </a:lnTo>
                  <a:lnTo>
                    <a:pt x="9215" y="5450"/>
                  </a:lnTo>
                  <a:lnTo>
                    <a:pt x="9215" y="3964"/>
                  </a:lnTo>
                  <a:lnTo>
                    <a:pt x="9215" y="2874"/>
                  </a:lnTo>
                  <a:lnTo>
                    <a:pt x="9116" y="1883"/>
                  </a:lnTo>
                  <a:lnTo>
                    <a:pt x="9116" y="1289"/>
                  </a:lnTo>
                  <a:lnTo>
                    <a:pt x="9215" y="1090"/>
                  </a:lnTo>
                  <a:lnTo>
                    <a:pt x="9314" y="793"/>
                  </a:lnTo>
                  <a:lnTo>
                    <a:pt x="9512" y="694"/>
                  </a:lnTo>
                  <a:lnTo>
                    <a:pt x="9512" y="595"/>
                  </a:lnTo>
                  <a:lnTo>
                    <a:pt x="9512" y="496"/>
                  </a:lnTo>
                  <a:lnTo>
                    <a:pt x="9314" y="298"/>
                  </a:lnTo>
                  <a:lnTo>
                    <a:pt x="9215" y="199"/>
                  </a:lnTo>
                  <a:lnTo>
                    <a:pt x="9116" y="100"/>
                  </a:lnTo>
                  <a:lnTo>
                    <a:pt x="7729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  <p:sp>
          <p:nvSpPr>
            <p:cNvPr id="14" name="Google Shape;417;p31">
              <a:extLst>
                <a:ext uri="{FF2B5EF4-FFF2-40B4-BE49-F238E27FC236}">
                  <a16:creationId xmlns:a16="http://schemas.microsoft.com/office/drawing/2014/main" id="{AA73578E-00D0-4BA6-7E1A-F5FCC4ABF72D}"/>
                </a:ext>
              </a:extLst>
            </p:cNvPr>
            <p:cNvSpPr/>
            <p:nvPr/>
          </p:nvSpPr>
          <p:spPr>
            <a:xfrm>
              <a:off x="4687651" y="1429189"/>
              <a:ext cx="217751" cy="260682"/>
            </a:xfrm>
            <a:custGeom>
              <a:avLst/>
              <a:gdLst/>
              <a:ahLst/>
              <a:cxnLst/>
              <a:rect l="l" t="t" r="r" b="b"/>
              <a:pathLst>
                <a:path w="7035" h="8422" extrusionOk="0">
                  <a:moveTo>
                    <a:pt x="4360" y="2973"/>
                  </a:moveTo>
                  <a:lnTo>
                    <a:pt x="4459" y="3072"/>
                  </a:lnTo>
                  <a:lnTo>
                    <a:pt x="4558" y="3270"/>
                  </a:lnTo>
                  <a:lnTo>
                    <a:pt x="4558" y="3567"/>
                  </a:lnTo>
                  <a:lnTo>
                    <a:pt x="4459" y="3963"/>
                  </a:lnTo>
                  <a:lnTo>
                    <a:pt x="4459" y="4062"/>
                  </a:lnTo>
                  <a:lnTo>
                    <a:pt x="4261" y="4161"/>
                  </a:lnTo>
                  <a:lnTo>
                    <a:pt x="3964" y="4161"/>
                  </a:lnTo>
                  <a:lnTo>
                    <a:pt x="3666" y="4062"/>
                  </a:lnTo>
                  <a:lnTo>
                    <a:pt x="3567" y="4062"/>
                  </a:lnTo>
                  <a:lnTo>
                    <a:pt x="3468" y="4161"/>
                  </a:lnTo>
                  <a:lnTo>
                    <a:pt x="3270" y="4261"/>
                  </a:lnTo>
                  <a:lnTo>
                    <a:pt x="3171" y="4161"/>
                  </a:lnTo>
                  <a:lnTo>
                    <a:pt x="2973" y="3963"/>
                  </a:lnTo>
                  <a:lnTo>
                    <a:pt x="2874" y="3864"/>
                  </a:lnTo>
                  <a:lnTo>
                    <a:pt x="2874" y="3765"/>
                  </a:lnTo>
                  <a:lnTo>
                    <a:pt x="2973" y="3468"/>
                  </a:lnTo>
                  <a:lnTo>
                    <a:pt x="3072" y="3171"/>
                  </a:lnTo>
                  <a:lnTo>
                    <a:pt x="3270" y="2973"/>
                  </a:lnTo>
                  <a:lnTo>
                    <a:pt x="3567" y="2973"/>
                  </a:lnTo>
                  <a:lnTo>
                    <a:pt x="3864" y="3072"/>
                  </a:lnTo>
                  <a:lnTo>
                    <a:pt x="4063" y="3072"/>
                  </a:lnTo>
                  <a:lnTo>
                    <a:pt x="4261" y="2973"/>
                  </a:lnTo>
                  <a:close/>
                  <a:moveTo>
                    <a:pt x="3072" y="0"/>
                  </a:moveTo>
                  <a:lnTo>
                    <a:pt x="2775" y="198"/>
                  </a:lnTo>
                  <a:lnTo>
                    <a:pt x="2576" y="297"/>
                  </a:lnTo>
                  <a:lnTo>
                    <a:pt x="2576" y="496"/>
                  </a:lnTo>
                  <a:lnTo>
                    <a:pt x="2576" y="595"/>
                  </a:lnTo>
                  <a:lnTo>
                    <a:pt x="2576" y="793"/>
                  </a:lnTo>
                  <a:lnTo>
                    <a:pt x="2378" y="1090"/>
                  </a:lnTo>
                  <a:lnTo>
                    <a:pt x="2279" y="1387"/>
                  </a:lnTo>
                  <a:lnTo>
                    <a:pt x="2279" y="1486"/>
                  </a:lnTo>
                  <a:lnTo>
                    <a:pt x="2378" y="1685"/>
                  </a:lnTo>
                  <a:lnTo>
                    <a:pt x="2378" y="1784"/>
                  </a:lnTo>
                  <a:lnTo>
                    <a:pt x="2180" y="1883"/>
                  </a:lnTo>
                  <a:lnTo>
                    <a:pt x="991" y="1982"/>
                  </a:lnTo>
                  <a:lnTo>
                    <a:pt x="793" y="2081"/>
                  </a:lnTo>
                  <a:lnTo>
                    <a:pt x="595" y="2180"/>
                  </a:lnTo>
                  <a:lnTo>
                    <a:pt x="397" y="2378"/>
                  </a:lnTo>
                  <a:lnTo>
                    <a:pt x="397" y="2477"/>
                  </a:lnTo>
                  <a:lnTo>
                    <a:pt x="496" y="2576"/>
                  </a:lnTo>
                  <a:lnTo>
                    <a:pt x="694" y="2774"/>
                  </a:lnTo>
                  <a:lnTo>
                    <a:pt x="991" y="2973"/>
                  </a:lnTo>
                  <a:lnTo>
                    <a:pt x="1189" y="3072"/>
                  </a:lnTo>
                  <a:lnTo>
                    <a:pt x="1784" y="3072"/>
                  </a:lnTo>
                  <a:lnTo>
                    <a:pt x="1883" y="3171"/>
                  </a:lnTo>
                  <a:lnTo>
                    <a:pt x="1883" y="3270"/>
                  </a:lnTo>
                  <a:lnTo>
                    <a:pt x="1883" y="3765"/>
                  </a:lnTo>
                  <a:lnTo>
                    <a:pt x="1784" y="3963"/>
                  </a:lnTo>
                  <a:lnTo>
                    <a:pt x="1487" y="4062"/>
                  </a:lnTo>
                  <a:lnTo>
                    <a:pt x="496" y="4062"/>
                  </a:lnTo>
                  <a:lnTo>
                    <a:pt x="298" y="4161"/>
                  </a:lnTo>
                  <a:lnTo>
                    <a:pt x="199" y="4360"/>
                  </a:lnTo>
                  <a:lnTo>
                    <a:pt x="100" y="4657"/>
                  </a:lnTo>
                  <a:lnTo>
                    <a:pt x="0" y="4756"/>
                  </a:lnTo>
                  <a:lnTo>
                    <a:pt x="100" y="4855"/>
                  </a:lnTo>
                  <a:lnTo>
                    <a:pt x="199" y="5053"/>
                  </a:lnTo>
                  <a:lnTo>
                    <a:pt x="397" y="5152"/>
                  </a:lnTo>
                  <a:lnTo>
                    <a:pt x="793" y="5152"/>
                  </a:lnTo>
                  <a:lnTo>
                    <a:pt x="991" y="5251"/>
                  </a:lnTo>
                  <a:lnTo>
                    <a:pt x="1189" y="5251"/>
                  </a:lnTo>
                  <a:lnTo>
                    <a:pt x="1388" y="5152"/>
                  </a:lnTo>
                  <a:lnTo>
                    <a:pt x="1487" y="5251"/>
                  </a:lnTo>
                  <a:lnTo>
                    <a:pt x="1586" y="5251"/>
                  </a:lnTo>
                  <a:lnTo>
                    <a:pt x="1487" y="5449"/>
                  </a:lnTo>
                  <a:lnTo>
                    <a:pt x="1388" y="5648"/>
                  </a:lnTo>
                  <a:lnTo>
                    <a:pt x="1388" y="5846"/>
                  </a:lnTo>
                  <a:lnTo>
                    <a:pt x="1388" y="6242"/>
                  </a:lnTo>
                  <a:lnTo>
                    <a:pt x="1388" y="6638"/>
                  </a:lnTo>
                  <a:lnTo>
                    <a:pt x="1388" y="6936"/>
                  </a:lnTo>
                  <a:lnTo>
                    <a:pt x="1288" y="7332"/>
                  </a:lnTo>
                  <a:lnTo>
                    <a:pt x="1090" y="7629"/>
                  </a:lnTo>
                  <a:lnTo>
                    <a:pt x="1090" y="7827"/>
                  </a:lnTo>
                  <a:lnTo>
                    <a:pt x="1189" y="7827"/>
                  </a:lnTo>
                  <a:lnTo>
                    <a:pt x="1388" y="7926"/>
                  </a:lnTo>
                  <a:lnTo>
                    <a:pt x="1487" y="8026"/>
                  </a:lnTo>
                  <a:lnTo>
                    <a:pt x="1685" y="8026"/>
                  </a:lnTo>
                  <a:lnTo>
                    <a:pt x="1883" y="8125"/>
                  </a:lnTo>
                  <a:lnTo>
                    <a:pt x="2081" y="7827"/>
                  </a:lnTo>
                  <a:lnTo>
                    <a:pt x="2180" y="7530"/>
                  </a:lnTo>
                  <a:lnTo>
                    <a:pt x="2477" y="5945"/>
                  </a:lnTo>
                  <a:lnTo>
                    <a:pt x="2676" y="5549"/>
                  </a:lnTo>
                  <a:lnTo>
                    <a:pt x="2775" y="5350"/>
                  </a:lnTo>
                  <a:lnTo>
                    <a:pt x="3072" y="5251"/>
                  </a:lnTo>
                  <a:lnTo>
                    <a:pt x="3964" y="5251"/>
                  </a:lnTo>
                  <a:lnTo>
                    <a:pt x="4162" y="5350"/>
                  </a:lnTo>
                  <a:lnTo>
                    <a:pt x="4162" y="5648"/>
                  </a:lnTo>
                  <a:lnTo>
                    <a:pt x="4162" y="6044"/>
                  </a:lnTo>
                  <a:lnTo>
                    <a:pt x="3864" y="7035"/>
                  </a:lnTo>
                  <a:lnTo>
                    <a:pt x="3864" y="7530"/>
                  </a:lnTo>
                  <a:lnTo>
                    <a:pt x="3964" y="8125"/>
                  </a:lnTo>
                  <a:lnTo>
                    <a:pt x="4063" y="8323"/>
                  </a:lnTo>
                  <a:lnTo>
                    <a:pt x="4261" y="8422"/>
                  </a:lnTo>
                  <a:lnTo>
                    <a:pt x="4360" y="8323"/>
                  </a:lnTo>
                  <a:lnTo>
                    <a:pt x="4459" y="8323"/>
                  </a:lnTo>
                  <a:lnTo>
                    <a:pt x="4657" y="8026"/>
                  </a:lnTo>
                  <a:lnTo>
                    <a:pt x="4756" y="7827"/>
                  </a:lnTo>
                  <a:lnTo>
                    <a:pt x="4855" y="7629"/>
                  </a:lnTo>
                  <a:lnTo>
                    <a:pt x="5053" y="6738"/>
                  </a:lnTo>
                  <a:lnTo>
                    <a:pt x="5152" y="6242"/>
                  </a:lnTo>
                  <a:lnTo>
                    <a:pt x="5252" y="5747"/>
                  </a:lnTo>
                  <a:lnTo>
                    <a:pt x="5252" y="5449"/>
                  </a:lnTo>
                  <a:lnTo>
                    <a:pt x="5351" y="5251"/>
                  </a:lnTo>
                  <a:lnTo>
                    <a:pt x="5648" y="5152"/>
                  </a:lnTo>
                  <a:lnTo>
                    <a:pt x="6143" y="5152"/>
                  </a:lnTo>
                  <a:lnTo>
                    <a:pt x="6242" y="5053"/>
                  </a:lnTo>
                  <a:lnTo>
                    <a:pt x="6341" y="4954"/>
                  </a:lnTo>
                  <a:lnTo>
                    <a:pt x="6440" y="4756"/>
                  </a:lnTo>
                  <a:lnTo>
                    <a:pt x="6341" y="4360"/>
                  </a:lnTo>
                  <a:lnTo>
                    <a:pt x="6242" y="4261"/>
                  </a:lnTo>
                  <a:lnTo>
                    <a:pt x="6044" y="4161"/>
                  </a:lnTo>
                  <a:lnTo>
                    <a:pt x="5747" y="4161"/>
                  </a:lnTo>
                  <a:lnTo>
                    <a:pt x="5549" y="4062"/>
                  </a:lnTo>
                  <a:lnTo>
                    <a:pt x="5549" y="3963"/>
                  </a:lnTo>
                  <a:lnTo>
                    <a:pt x="5549" y="3666"/>
                  </a:lnTo>
                  <a:lnTo>
                    <a:pt x="5747" y="3369"/>
                  </a:lnTo>
                  <a:lnTo>
                    <a:pt x="6044" y="3171"/>
                  </a:lnTo>
                  <a:lnTo>
                    <a:pt x="6341" y="3072"/>
                  </a:lnTo>
                  <a:lnTo>
                    <a:pt x="6540" y="3072"/>
                  </a:lnTo>
                  <a:lnTo>
                    <a:pt x="6738" y="2973"/>
                  </a:lnTo>
                  <a:lnTo>
                    <a:pt x="7035" y="2774"/>
                  </a:lnTo>
                  <a:lnTo>
                    <a:pt x="7035" y="2675"/>
                  </a:lnTo>
                  <a:lnTo>
                    <a:pt x="7035" y="2576"/>
                  </a:lnTo>
                  <a:lnTo>
                    <a:pt x="6936" y="2180"/>
                  </a:lnTo>
                  <a:lnTo>
                    <a:pt x="6639" y="2180"/>
                  </a:lnTo>
                  <a:lnTo>
                    <a:pt x="6440" y="2081"/>
                  </a:lnTo>
                  <a:lnTo>
                    <a:pt x="6242" y="1982"/>
                  </a:lnTo>
                  <a:lnTo>
                    <a:pt x="5945" y="2081"/>
                  </a:lnTo>
                  <a:lnTo>
                    <a:pt x="5945" y="2081"/>
                  </a:lnTo>
                  <a:lnTo>
                    <a:pt x="6044" y="1585"/>
                  </a:lnTo>
                  <a:lnTo>
                    <a:pt x="6143" y="1288"/>
                  </a:lnTo>
                  <a:lnTo>
                    <a:pt x="6143" y="496"/>
                  </a:lnTo>
                  <a:lnTo>
                    <a:pt x="6044" y="297"/>
                  </a:lnTo>
                  <a:lnTo>
                    <a:pt x="5945" y="198"/>
                  </a:lnTo>
                  <a:lnTo>
                    <a:pt x="5747" y="99"/>
                  </a:lnTo>
                  <a:lnTo>
                    <a:pt x="5549" y="0"/>
                  </a:lnTo>
                  <a:lnTo>
                    <a:pt x="5450" y="99"/>
                  </a:lnTo>
                  <a:lnTo>
                    <a:pt x="5351" y="397"/>
                  </a:lnTo>
                  <a:lnTo>
                    <a:pt x="5152" y="694"/>
                  </a:lnTo>
                  <a:lnTo>
                    <a:pt x="5053" y="991"/>
                  </a:lnTo>
                  <a:lnTo>
                    <a:pt x="4954" y="1685"/>
                  </a:lnTo>
                  <a:lnTo>
                    <a:pt x="4855" y="1883"/>
                  </a:lnTo>
                  <a:lnTo>
                    <a:pt x="4756" y="1982"/>
                  </a:lnTo>
                  <a:lnTo>
                    <a:pt x="4459" y="1982"/>
                  </a:lnTo>
                  <a:lnTo>
                    <a:pt x="4162" y="1883"/>
                  </a:lnTo>
                  <a:lnTo>
                    <a:pt x="3666" y="1883"/>
                  </a:lnTo>
                  <a:lnTo>
                    <a:pt x="3369" y="1784"/>
                  </a:lnTo>
                  <a:lnTo>
                    <a:pt x="3369" y="1486"/>
                  </a:lnTo>
                  <a:lnTo>
                    <a:pt x="3567" y="991"/>
                  </a:lnTo>
                  <a:lnTo>
                    <a:pt x="3567" y="694"/>
                  </a:lnTo>
                  <a:lnTo>
                    <a:pt x="3567" y="297"/>
                  </a:lnTo>
                  <a:lnTo>
                    <a:pt x="3468" y="99"/>
                  </a:lnTo>
                  <a:lnTo>
                    <a:pt x="336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  <p:sp>
          <p:nvSpPr>
            <p:cNvPr id="15" name="Google Shape;418;p31">
              <a:extLst>
                <a:ext uri="{FF2B5EF4-FFF2-40B4-BE49-F238E27FC236}">
                  <a16:creationId xmlns:a16="http://schemas.microsoft.com/office/drawing/2014/main" id="{6D1987CF-B6AF-E4CA-9EB6-C28ABDBD3F42}"/>
                </a:ext>
              </a:extLst>
            </p:cNvPr>
            <p:cNvSpPr/>
            <p:nvPr/>
          </p:nvSpPr>
          <p:spPr>
            <a:xfrm>
              <a:off x="4255250" y="4014369"/>
              <a:ext cx="631771" cy="598064"/>
            </a:xfrm>
            <a:custGeom>
              <a:avLst/>
              <a:gdLst/>
              <a:ahLst/>
              <a:cxnLst/>
              <a:rect l="l" t="t" r="r" b="b"/>
              <a:pathLst>
                <a:path w="20411" h="19322" extrusionOk="0">
                  <a:moveTo>
                    <a:pt x="10205" y="1091"/>
                  </a:moveTo>
                  <a:lnTo>
                    <a:pt x="10305" y="1190"/>
                  </a:lnTo>
                  <a:lnTo>
                    <a:pt x="10602" y="1487"/>
                  </a:lnTo>
                  <a:lnTo>
                    <a:pt x="10899" y="2181"/>
                  </a:lnTo>
                  <a:lnTo>
                    <a:pt x="11196" y="2775"/>
                  </a:lnTo>
                  <a:lnTo>
                    <a:pt x="11791" y="4162"/>
                  </a:lnTo>
                  <a:lnTo>
                    <a:pt x="12682" y="6243"/>
                  </a:lnTo>
                  <a:lnTo>
                    <a:pt x="12781" y="6441"/>
                  </a:lnTo>
                  <a:lnTo>
                    <a:pt x="12980" y="6540"/>
                  </a:lnTo>
                  <a:lnTo>
                    <a:pt x="13277" y="6936"/>
                  </a:lnTo>
                  <a:lnTo>
                    <a:pt x="13475" y="7036"/>
                  </a:lnTo>
                  <a:lnTo>
                    <a:pt x="13574" y="6936"/>
                  </a:lnTo>
                  <a:lnTo>
                    <a:pt x="13772" y="6738"/>
                  </a:lnTo>
                  <a:lnTo>
                    <a:pt x="18726" y="6738"/>
                  </a:lnTo>
                  <a:lnTo>
                    <a:pt x="18924" y="6837"/>
                  </a:lnTo>
                  <a:lnTo>
                    <a:pt x="19122" y="7036"/>
                  </a:lnTo>
                  <a:lnTo>
                    <a:pt x="19122" y="7135"/>
                  </a:lnTo>
                  <a:lnTo>
                    <a:pt x="19122" y="7234"/>
                  </a:lnTo>
                  <a:lnTo>
                    <a:pt x="18924" y="7432"/>
                  </a:lnTo>
                  <a:lnTo>
                    <a:pt x="18627" y="7630"/>
                  </a:lnTo>
                  <a:lnTo>
                    <a:pt x="18429" y="7828"/>
                  </a:lnTo>
                  <a:lnTo>
                    <a:pt x="18231" y="8026"/>
                  </a:lnTo>
                  <a:lnTo>
                    <a:pt x="18033" y="8125"/>
                  </a:lnTo>
                  <a:lnTo>
                    <a:pt x="17834" y="8324"/>
                  </a:lnTo>
                  <a:lnTo>
                    <a:pt x="17537" y="8522"/>
                  </a:lnTo>
                  <a:lnTo>
                    <a:pt x="17339" y="8720"/>
                  </a:lnTo>
                  <a:lnTo>
                    <a:pt x="17141" y="8918"/>
                  </a:lnTo>
                  <a:lnTo>
                    <a:pt x="16844" y="9017"/>
                  </a:lnTo>
                  <a:lnTo>
                    <a:pt x="16646" y="9314"/>
                  </a:lnTo>
                  <a:lnTo>
                    <a:pt x="16249" y="9810"/>
                  </a:lnTo>
                  <a:lnTo>
                    <a:pt x="16051" y="10008"/>
                  </a:lnTo>
                  <a:lnTo>
                    <a:pt x="15754" y="10107"/>
                  </a:lnTo>
                  <a:lnTo>
                    <a:pt x="15358" y="10602"/>
                  </a:lnTo>
                  <a:lnTo>
                    <a:pt x="14961" y="11197"/>
                  </a:lnTo>
                  <a:lnTo>
                    <a:pt x="14961" y="11395"/>
                  </a:lnTo>
                  <a:lnTo>
                    <a:pt x="14862" y="11692"/>
                  </a:lnTo>
                  <a:lnTo>
                    <a:pt x="14961" y="12188"/>
                  </a:lnTo>
                  <a:lnTo>
                    <a:pt x="15655" y="14565"/>
                  </a:lnTo>
                  <a:lnTo>
                    <a:pt x="16348" y="17141"/>
                  </a:lnTo>
                  <a:lnTo>
                    <a:pt x="16348" y="17439"/>
                  </a:lnTo>
                  <a:lnTo>
                    <a:pt x="16348" y="17538"/>
                  </a:lnTo>
                  <a:lnTo>
                    <a:pt x="15853" y="17538"/>
                  </a:lnTo>
                  <a:lnTo>
                    <a:pt x="15159" y="17141"/>
                  </a:lnTo>
                  <a:lnTo>
                    <a:pt x="14466" y="16745"/>
                  </a:lnTo>
                  <a:lnTo>
                    <a:pt x="13772" y="16349"/>
                  </a:lnTo>
                  <a:lnTo>
                    <a:pt x="13079" y="16052"/>
                  </a:lnTo>
                  <a:lnTo>
                    <a:pt x="12088" y="15655"/>
                  </a:lnTo>
                  <a:lnTo>
                    <a:pt x="11593" y="15457"/>
                  </a:lnTo>
                  <a:lnTo>
                    <a:pt x="11097" y="15160"/>
                  </a:lnTo>
                  <a:lnTo>
                    <a:pt x="10800" y="14962"/>
                  </a:lnTo>
                  <a:lnTo>
                    <a:pt x="10602" y="14863"/>
                  </a:lnTo>
                  <a:lnTo>
                    <a:pt x="10106" y="14863"/>
                  </a:lnTo>
                  <a:lnTo>
                    <a:pt x="9116" y="15160"/>
                  </a:lnTo>
                  <a:lnTo>
                    <a:pt x="8026" y="15457"/>
                  </a:lnTo>
                  <a:lnTo>
                    <a:pt x="6936" y="15953"/>
                  </a:lnTo>
                  <a:lnTo>
                    <a:pt x="5945" y="16448"/>
                  </a:lnTo>
                  <a:lnTo>
                    <a:pt x="4954" y="17042"/>
                  </a:lnTo>
                  <a:lnTo>
                    <a:pt x="4756" y="17141"/>
                  </a:lnTo>
                  <a:lnTo>
                    <a:pt x="4459" y="17241"/>
                  </a:lnTo>
                  <a:lnTo>
                    <a:pt x="4162" y="17340"/>
                  </a:lnTo>
                  <a:lnTo>
                    <a:pt x="3864" y="17538"/>
                  </a:lnTo>
                  <a:lnTo>
                    <a:pt x="3765" y="17538"/>
                  </a:lnTo>
                  <a:lnTo>
                    <a:pt x="3666" y="17439"/>
                  </a:lnTo>
                  <a:lnTo>
                    <a:pt x="3666" y="17340"/>
                  </a:lnTo>
                  <a:lnTo>
                    <a:pt x="3666" y="17241"/>
                  </a:lnTo>
                  <a:lnTo>
                    <a:pt x="3864" y="16844"/>
                  </a:lnTo>
                  <a:lnTo>
                    <a:pt x="3964" y="16349"/>
                  </a:lnTo>
                  <a:lnTo>
                    <a:pt x="4063" y="15556"/>
                  </a:lnTo>
                  <a:lnTo>
                    <a:pt x="4459" y="14565"/>
                  </a:lnTo>
                  <a:lnTo>
                    <a:pt x="4558" y="14070"/>
                  </a:lnTo>
                  <a:lnTo>
                    <a:pt x="4756" y="13575"/>
                  </a:lnTo>
                  <a:lnTo>
                    <a:pt x="4855" y="12881"/>
                  </a:lnTo>
                  <a:lnTo>
                    <a:pt x="4954" y="12485"/>
                  </a:lnTo>
                  <a:lnTo>
                    <a:pt x="5153" y="12188"/>
                  </a:lnTo>
                  <a:lnTo>
                    <a:pt x="5153" y="12088"/>
                  </a:lnTo>
                  <a:lnTo>
                    <a:pt x="5252" y="11989"/>
                  </a:lnTo>
                  <a:lnTo>
                    <a:pt x="5450" y="11890"/>
                  </a:lnTo>
                  <a:lnTo>
                    <a:pt x="5549" y="11890"/>
                  </a:lnTo>
                  <a:lnTo>
                    <a:pt x="5549" y="11692"/>
                  </a:lnTo>
                  <a:lnTo>
                    <a:pt x="5351" y="10999"/>
                  </a:lnTo>
                  <a:lnTo>
                    <a:pt x="5153" y="10602"/>
                  </a:lnTo>
                  <a:lnTo>
                    <a:pt x="4855" y="10305"/>
                  </a:lnTo>
                  <a:lnTo>
                    <a:pt x="4261" y="9810"/>
                  </a:lnTo>
                  <a:lnTo>
                    <a:pt x="3864" y="9612"/>
                  </a:lnTo>
                  <a:lnTo>
                    <a:pt x="3666" y="9314"/>
                  </a:lnTo>
                  <a:lnTo>
                    <a:pt x="3171" y="8819"/>
                  </a:lnTo>
                  <a:lnTo>
                    <a:pt x="2973" y="8621"/>
                  </a:lnTo>
                  <a:lnTo>
                    <a:pt x="2775" y="8324"/>
                  </a:lnTo>
                  <a:lnTo>
                    <a:pt x="2676" y="8224"/>
                  </a:lnTo>
                  <a:lnTo>
                    <a:pt x="2576" y="8125"/>
                  </a:lnTo>
                  <a:lnTo>
                    <a:pt x="2279" y="8026"/>
                  </a:lnTo>
                  <a:lnTo>
                    <a:pt x="1982" y="7828"/>
                  </a:lnTo>
                  <a:lnTo>
                    <a:pt x="1784" y="7531"/>
                  </a:lnTo>
                  <a:lnTo>
                    <a:pt x="1487" y="7432"/>
                  </a:lnTo>
                  <a:lnTo>
                    <a:pt x="1388" y="7234"/>
                  </a:lnTo>
                  <a:lnTo>
                    <a:pt x="1288" y="6936"/>
                  </a:lnTo>
                  <a:lnTo>
                    <a:pt x="1388" y="6837"/>
                  </a:lnTo>
                  <a:lnTo>
                    <a:pt x="1487" y="6837"/>
                  </a:lnTo>
                  <a:lnTo>
                    <a:pt x="1685" y="6738"/>
                  </a:lnTo>
                  <a:lnTo>
                    <a:pt x="3864" y="6837"/>
                  </a:lnTo>
                  <a:lnTo>
                    <a:pt x="5945" y="6738"/>
                  </a:lnTo>
                  <a:lnTo>
                    <a:pt x="6242" y="6738"/>
                  </a:lnTo>
                  <a:lnTo>
                    <a:pt x="6540" y="6837"/>
                  </a:lnTo>
                  <a:lnTo>
                    <a:pt x="6738" y="6837"/>
                  </a:lnTo>
                  <a:lnTo>
                    <a:pt x="6936" y="6738"/>
                  </a:lnTo>
                  <a:lnTo>
                    <a:pt x="7035" y="6639"/>
                  </a:lnTo>
                  <a:lnTo>
                    <a:pt x="7233" y="6639"/>
                  </a:lnTo>
                  <a:lnTo>
                    <a:pt x="7332" y="6342"/>
                  </a:lnTo>
                  <a:lnTo>
                    <a:pt x="7431" y="6144"/>
                  </a:lnTo>
                  <a:lnTo>
                    <a:pt x="7828" y="5648"/>
                  </a:lnTo>
                  <a:lnTo>
                    <a:pt x="8026" y="5351"/>
                  </a:lnTo>
                  <a:lnTo>
                    <a:pt x="8125" y="4955"/>
                  </a:lnTo>
                  <a:lnTo>
                    <a:pt x="8224" y="4559"/>
                  </a:lnTo>
                  <a:lnTo>
                    <a:pt x="8521" y="4261"/>
                  </a:lnTo>
                  <a:lnTo>
                    <a:pt x="8620" y="4063"/>
                  </a:lnTo>
                  <a:lnTo>
                    <a:pt x="8620" y="3865"/>
                  </a:lnTo>
                  <a:lnTo>
                    <a:pt x="8521" y="3469"/>
                  </a:lnTo>
                  <a:lnTo>
                    <a:pt x="8818" y="3667"/>
                  </a:lnTo>
                  <a:lnTo>
                    <a:pt x="8917" y="3469"/>
                  </a:lnTo>
                  <a:lnTo>
                    <a:pt x="8917" y="3271"/>
                  </a:lnTo>
                  <a:lnTo>
                    <a:pt x="9017" y="3072"/>
                  </a:lnTo>
                  <a:lnTo>
                    <a:pt x="9017" y="2775"/>
                  </a:lnTo>
                  <a:lnTo>
                    <a:pt x="9017" y="2577"/>
                  </a:lnTo>
                  <a:lnTo>
                    <a:pt x="8917" y="2478"/>
                  </a:lnTo>
                  <a:lnTo>
                    <a:pt x="9116" y="2478"/>
                  </a:lnTo>
                  <a:lnTo>
                    <a:pt x="9215" y="2379"/>
                  </a:lnTo>
                  <a:lnTo>
                    <a:pt x="9413" y="2082"/>
                  </a:lnTo>
                  <a:lnTo>
                    <a:pt x="9512" y="1784"/>
                  </a:lnTo>
                  <a:lnTo>
                    <a:pt x="9611" y="1586"/>
                  </a:lnTo>
                  <a:lnTo>
                    <a:pt x="9710" y="1388"/>
                  </a:lnTo>
                  <a:lnTo>
                    <a:pt x="10007" y="1091"/>
                  </a:lnTo>
                  <a:close/>
                  <a:moveTo>
                    <a:pt x="9809" y="1"/>
                  </a:moveTo>
                  <a:lnTo>
                    <a:pt x="9512" y="199"/>
                  </a:lnTo>
                  <a:lnTo>
                    <a:pt x="9116" y="893"/>
                  </a:lnTo>
                  <a:lnTo>
                    <a:pt x="8719" y="1586"/>
                  </a:lnTo>
                  <a:lnTo>
                    <a:pt x="8521" y="2082"/>
                  </a:lnTo>
                  <a:lnTo>
                    <a:pt x="8224" y="2676"/>
                  </a:lnTo>
                  <a:lnTo>
                    <a:pt x="7729" y="3667"/>
                  </a:lnTo>
                  <a:lnTo>
                    <a:pt x="7233" y="4658"/>
                  </a:lnTo>
                  <a:lnTo>
                    <a:pt x="6738" y="5648"/>
                  </a:lnTo>
                  <a:lnTo>
                    <a:pt x="6639" y="5847"/>
                  </a:lnTo>
                  <a:lnTo>
                    <a:pt x="6540" y="5946"/>
                  </a:lnTo>
                  <a:lnTo>
                    <a:pt x="6242" y="6045"/>
                  </a:lnTo>
                  <a:lnTo>
                    <a:pt x="3072" y="5946"/>
                  </a:lnTo>
                  <a:lnTo>
                    <a:pt x="2576" y="6045"/>
                  </a:lnTo>
                  <a:lnTo>
                    <a:pt x="1090" y="6045"/>
                  </a:lnTo>
                  <a:lnTo>
                    <a:pt x="595" y="6243"/>
                  </a:lnTo>
                  <a:lnTo>
                    <a:pt x="100" y="6441"/>
                  </a:lnTo>
                  <a:lnTo>
                    <a:pt x="0" y="6540"/>
                  </a:lnTo>
                  <a:lnTo>
                    <a:pt x="0" y="6738"/>
                  </a:lnTo>
                  <a:lnTo>
                    <a:pt x="199" y="7333"/>
                  </a:lnTo>
                  <a:lnTo>
                    <a:pt x="397" y="7630"/>
                  </a:lnTo>
                  <a:lnTo>
                    <a:pt x="694" y="7927"/>
                  </a:lnTo>
                  <a:lnTo>
                    <a:pt x="1586" y="8819"/>
                  </a:lnTo>
                  <a:lnTo>
                    <a:pt x="2477" y="9612"/>
                  </a:lnTo>
                  <a:lnTo>
                    <a:pt x="3369" y="10503"/>
                  </a:lnTo>
                  <a:lnTo>
                    <a:pt x="4261" y="11395"/>
                  </a:lnTo>
                  <a:lnTo>
                    <a:pt x="4459" y="11692"/>
                  </a:lnTo>
                  <a:lnTo>
                    <a:pt x="4459" y="11890"/>
                  </a:lnTo>
                  <a:lnTo>
                    <a:pt x="4360" y="12088"/>
                  </a:lnTo>
                  <a:lnTo>
                    <a:pt x="3964" y="12881"/>
                  </a:lnTo>
                  <a:lnTo>
                    <a:pt x="3765" y="13674"/>
                  </a:lnTo>
                  <a:lnTo>
                    <a:pt x="3270" y="15358"/>
                  </a:lnTo>
                  <a:lnTo>
                    <a:pt x="2874" y="16844"/>
                  </a:lnTo>
                  <a:lnTo>
                    <a:pt x="2477" y="18429"/>
                  </a:lnTo>
                  <a:lnTo>
                    <a:pt x="2477" y="18529"/>
                  </a:lnTo>
                  <a:lnTo>
                    <a:pt x="2477" y="18628"/>
                  </a:lnTo>
                  <a:lnTo>
                    <a:pt x="2676" y="18826"/>
                  </a:lnTo>
                  <a:lnTo>
                    <a:pt x="2874" y="18925"/>
                  </a:lnTo>
                  <a:lnTo>
                    <a:pt x="2973" y="19123"/>
                  </a:lnTo>
                  <a:lnTo>
                    <a:pt x="3072" y="19222"/>
                  </a:lnTo>
                  <a:lnTo>
                    <a:pt x="3369" y="19222"/>
                  </a:lnTo>
                  <a:lnTo>
                    <a:pt x="3964" y="18826"/>
                  </a:lnTo>
                  <a:lnTo>
                    <a:pt x="4657" y="18429"/>
                  </a:lnTo>
                  <a:lnTo>
                    <a:pt x="6143" y="17538"/>
                  </a:lnTo>
                  <a:lnTo>
                    <a:pt x="7729" y="16646"/>
                  </a:lnTo>
                  <a:lnTo>
                    <a:pt x="8719" y="16250"/>
                  </a:lnTo>
                  <a:lnTo>
                    <a:pt x="9116" y="15953"/>
                  </a:lnTo>
                  <a:lnTo>
                    <a:pt x="9611" y="15655"/>
                  </a:lnTo>
                  <a:lnTo>
                    <a:pt x="9908" y="15457"/>
                  </a:lnTo>
                  <a:lnTo>
                    <a:pt x="10106" y="15457"/>
                  </a:lnTo>
                  <a:lnTo>
                    <a:pt x="10305" y="15556"/>
                  </a:lnTo>
                  <a:lnTo>
                    <a:pt x="11097" y="15953"/>
                  </a:lnTo>
                  <a:lnTo>
                    <a:pt x="11791" y="16349"/>
                  </a:lnTo>
                  <a:lnTo>
                    <a:pt x="13079" y="17042"/>
                  </a:lnTo>
                  <a:lnTo>
                    <a:pt x="14268" y="17736"/>
                  </a:lnTo>
                  <a:lnTo>
                    <a:pt x="15556" y="18529"/>
                  </a:lnTo>
                  <a:lnTo>
                    <a:pt x="16844" y="19222"/>
                  </a:lnTo>
                  <a:lnTo>
                    <a:pt x="17042" y="19321"/>
                  </a:lnTo>
                  <a:lnTo>
                    <a:pt x="17240" y="19321"/>
                  </a:lnTo>
                  <a:lnTo>
                    <a:pt x="17339" y="19222"/>
                  </a:lnTo>
                  <a:lnTo>
                    <a:pt x="17537" y="18925"/>
                  </a:lnTo>
                  <a:lnTo>
                    <a:pt x="17735" y="18529"/>
                  </a:lnTo>
                  <a:lnTo>
                    <a:pt x="17735" y="18132"/>
                  </a:lnTo>
                  <a:lnTo>
                    <a:pt x="17735" y="17835"/>
                  </a:lnTo>
                  <a:lnTo>
                    <a:pt x="17438" y="16943"/>
                  </a:lnTo>
                  <a:lnTo>
                    <a:pt x="17141" y="16052"/>
                  </a:lnTo>
                  <a:lnTo>
                    <a:pt x="17042" y="15953"/>
                  </a:lnTo>
                  <a:lnTo>
                    <a:pt x="17042" y="15853"/>
                  </a:lnTo>
                  <a:lnTo>
                    <a:pt x="17042" y="15556"/>
                  </a:lnTo>
                  <a:lnTo>
                    <a:pt x="16943" y="15259"/>
                  </a:lnTo>
                  <a:lnTo>
                    <a:pt x="16844" y="15061"/>
                  </a:lnTo>
                  <a:lnTo>
                    <a:pt x="16546" y="14962"/>
                  </a:lnTo>
                  <a:lnTo>
                    <a:pt x="16745" y="14764"/>
                  </a:lnTo>
                  <a:lnTo>
                    <a:pt x="16844" y="14665"/>
                  </a:lnTo>
                  <a:lnTo>
                    <a:pt x="16745" y="14466"/>
                  </a:lnTo>
                  <a:lnTo>
                    <a:pt x="16646" y="14268"/>
                  </a:lnTo>
                  <a:lnTo>
                    <a:pt x="16546" y="14169"/>
                  </a:lnTo>
                  <a:lnTo>
                    <a:pt x="16646" y="13872"/>
                  </a:lnTo>
                  <a:lnTo>
                    <a:pt x="16546" y="13773"/>
                  </a:lnTo>
                  <a:lnTo>
                    <a:pt x="16447" y="13773"/>
                  </a:lnTo>
                  <a:lnTo>
                    <a:pt x="16348" y="13674"/>
                  </a:lnTo>
                  <a:lnTo>
                    <a:pt x="16348" y="13476"/>
                  </a:lnTo>
                  <a:lnTo>
                    <a:pt x="16447" y="13079"/>
                  </a:lnTo>
                  <a:lnTo>
                    <a:pt x="16348" y="12683"/>
                  </a:lnTo>
                  <a:lnTo>
                    <a:pt x="15952" y="11989"/>
                  </a:lnTo>
                  <a:lnTo>
                    <a:pt x="15853" y="11791"/>
                  </a:lnTo>
                  <a:lnTo>
                    <a:pt x="15853" y="11593"/>
                  </a:lnTo>
                  <a:lnTo>
                    <a:pt x="15952" y="11494"/>
                  </a:lnTo>
                  <a:lnTo>
                    <a:pt x="16546" y="10999"/>
                  </a:lnTo>
                  <a:lnTo>
                    <a:pt x="17141" y="10305"/>
                  </a:lnTo>
                  <a:lnTo>
                    <a:pt x="17834" y="9612"/>
                  </a:lnTo>
                  <a:lnTo>
                    <a:pt x="18627" y="8918"/>
                  </a:lnTo>
                  <a:lnTo>
                    <a:pt x="20014" y="7630"/>
                  </a:lnTo>
                  <a:lnTo>
                    <a:pt x="20311" y="7135"/>
                  </a:lnTo>
                  <a:lnTo>
                    <a:pt x="20410" y="6738"/>
                  </a:lnTo>
                  <a:lnTo>
                    <a:pt x="20311" y="6342"/>
                  </a:lnTo>
                  <a:lnTo>
                    <a:pt x="19915" y="6045"/>
                  </a:lnTo>
                  <a:lnTo>
                    <a:pt x="19717" y="5946"/>
                  </a:lnTo>
                  <a:lnTo>
                    <a:pt x="19420" y="5847"/>
                  </a:lnTo>
                  <a:lnTo>
                    <a:pt x="19023" y="5946"/>
                  </a:lnTo>
                  <a:lnTo>
                    <a:pt x="18033" y="5946"/>
                  </a:lnTo>
                  <a:lnTo>
                    <a:pt x="17537" y="5847"/>
                  </a:lnTo>
                  <a:lnTo>
                    <a:pt x="16249" y="5847"/>
                  </a:lnTo>
                  <a:lnTo>
                    <a:pt x="15952" y="6045"/>
                  </a:lnTo>
                  <a:lnTo>
                    <a:pt x="15655" y="5946"/>
                  </a:lnTo>
                  <a:lnTo>
                    <a:pt x="14862" y="5946"/>
                  </a:lnTo>
                  <a:lnTo>
                    <a:pt x="14565" y="5847"/>
                  </a:lnTo>
                  <a:lnTo>
                    <a:pt x="14070" y="5847"/>
                  </a:lnTo>
                  <a:lnTo>
                    <a:pt x="13871" y="5946"/>
                  </a:lnTo>
                  <a:lnTo>
                    <a:pt x="13673" y="5847"/>
                  </a:lnTo>
                  <a:lnTo>
                    <a:pt x="13574" y="5747"/>
                  </a:lnTo>
                  <a:lnTo>
                    <a:pt x="13376" y="5648"/>
                  </a:lnTo>
                  <a:lnTo>
                    <a:pt x="13475" y="5450"/>
                  </a:lnTo>
                  <a:lnTo>
                    <a:pt x="13376" y="5351"/>
                  </a:lnTo>
                  <a:lnTo>
                    <a:pt x="13178" y="5252"/>
                  </a:lnTo>
                  <a:lnTo>
                    <a:pt x="13178" y="5054"/>
                  </a:lnTo>
                  <a:lnTo>
                    <a:pt x="13178" y="4856"/>
                  </a:lnTo>
                  <a:lnTo>
                    <a:pt x="13079" y="4559"/>
                  </a:lnTo>
                  <a:lnTo>
                    <a:pt x="12781" y="4162"/>
                  </a:lnTo>
                  <a:lnTo>
                    <a:pt x="12583" y="3667"/>
                  </a:lnTo>
                  <a:lnTo>
                    <a:pt x="12385" y="3171"/>
                  </a:lnTo>
                  <a:lnTo>
                    <a:pt x="12187" y="2874"/>
                  </a:lnTo>
                  <a:lnTo>
                    <a:pt x="11989" y="2478"/>
                  </a:lnTo>
                  <a:lnTo>
                    <a:pt x="11791" y="2181"/>
                  </a:lnTo>
                  <a:lnTo>
                    <a:pt x="11692" y="1784"/>
                  </a:lnTo>
                  <a:lnTo>
                    <a:pt x="11493" y="1487"/>
                  </a:lnTo>
                  <a:lnTo>
                    <a:pt x="11295" y="1190"/>
                  </a:lnTo>
                  <a:lnTo>
                    <a:pt x="10998" y="893"/>
                  </a:lnTo>
                  <a:lnTo>
                    <a:pt x="10998" y="695"/>
                  </a:lnTo>
                  <a:lnTo>
                    <a:pt x="10899" y="496"/>
                  </a:lnTo>
                  <a:lnTo>
                    <a:pt x="10800" y="397"/>
                  </a:lnTo>
                  <a:lnTo>
                    <a:pt x="10503" y="298"/>
                  </a:lnTo>
                  <a:lnTo>
                    <a:pt x="10305" y="298"/>
                  </a:lnTo>
                  <a:lnTo>
                    <a:pt x="10106" y="199"/>
                  </a:lnTo>
                  <a:lnTo>
                    <a:pt x="9908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  <p:sp>
          <p:nvSpPr>
            <p:cNvPr id="16" name="Google Shape;419;p31">
              <a:extLst>
                <a:ext uri="{FF2B5EF4-FFF2-40B4-BE49-F238E27FC236}">
                  <a16:creationId xmlns:a16="http://schemas.microsoft.com/office/drawing/2014/main" id="{BD7B1EDB-2A01-29B1-0D81-FB297B7AC5FF}"/>
                </a:ext>
              </a:extLst>
            </p:cNvPr>
            <p:cNvSpPr/>
            <p:nvPr/>
          </p:nvSpPr>
          <p:spPr>
            <a:xfrm>
              <a:off x="3966992" y="3683182"/>
              <a:ext cx="1205228" cy="217782"/>
            </a:xfrm>
            <a:custGeom>
              <a:avLst/>
              <a:gdLst/>
              <a:ahLst/>
              <a:cxnLst/>
              <a:rect l="l" t="t" r="r" b="b"/>
              <a:pathLst>
                <a:path w="38938" h="7036" extrusionOk="0">
                  <a:moveTo>
                    <a:pt x="16348" y="1"/>
                  </a:moveTo>
                  <a:lnTo>
                    <a:pt x="15357" y="100"/>
                  </a:lnTo>
                  <a:lnTo>
                    <a:pt x="14466" y="100"/>
                  </a:lnTo>
                  <a:lnTo>
                    <a:pt x="13574" y="199"/>
                  </a:lnTo>
                  <a:lnTo>
                    <a:pt x="10800" y="397"/>
                  </a:lnTo>
                  <a:lnTo>
                    <a:pt x="8125" y="694"/>
                  </a:lnTo>
                  <a:lnTo>
                    <a:pt x="5648" y="1090"/>
                  </a:lnTo>
                  <a:lnTo>
                    <a:pt x="4360" y="1289"/>
                  </a:lnTo>
                  <a:lnTo>
                    <a:pt x="3171" y="1586"/>
                  </a:lnTo>
                  <a:lnTo>
                    <a:pt x="1189" y="2081"/>
                  </a:lnTo>
                  <a:lnTo>
                    <a:pt x="793" y="2279"/>
                  </a:lnTo>
                  <a:lnTo>
                    <a:pt x="496" y="2577"/>
                  </a:lnTo>
                  <a:lnTo>
                    <a:pt x="396" y="2973"/>
                  </a:lnTo>
                  <a:lnTo>
                    <a:pt x="297" y="3468"/>
                  </a:lnTo>
                  <a:lnTo>
                    <a:pt x="0" y="6044"/>
                  </a:lnTo>
                  <a:lnTo>
                    <a:pt x="0" y="6342"/>
                  </a:lnTo>
                  <a:lnTo>
                    <a:pt x="0" y="6639"/>
                  </a:lnTo>
                  <a:lnTo>
                    <a:pt x="99" y="6837"/>
                  </a:lnTo>
                  <a:lnTo>
                    <a:pt x="99" y="7035"/>
                  </a:lnTo>
                  <a:lnTo>
                    <a:pt x="496" y="6936"/>
                  </a:lnTo>
                  <a:lnTo>
                    <a:pt x="991" y="6738"/>
                  </a:lnTo>
                  <a:lnTo>
                    <a:pt x="1288" y="6639"/>
                  </a:lnTo>
                  <a:lnTo>
                    <a:pt x="1684" y="6639"/>
                  </a:lnTo>
                  <a:lnTo>
                    <a:pt x="2873" y="6540"/>
                  </a:lnTo>
                  <a:lnTo>
                    <a:pt x="4062" y="6441"/>
                  </a:lnTo>
                  <a:lnTo>
                    <a:pt x="5846" y="6342"/>
                  </a:lnTo>
                  <a:lnTo>
                    <a:pt x="6837" y="6143"/>
                  </a:lnTo>
                  <a:lnTo>
                    <a:pt x="7827" y="6044"/>
                  </a:lnTo>
                  <a:lnTo>
                    <a:pt x="8818" y="5945"/>
                  </a:lnTo>
                  <a:lnTo>
                    <a:pt x="9908" y="5846"/>
                  </a:lnTo>
                  <a:lnTo>
                    <a:pt x="10899" y="5747"/>
                  </a:lnTo>
                  <a:lnTo>
                    <a:pt x="11989" y="5648"/>
                  </a:lnTo>
                  <a:lnTo>
                    <a:pt x="15555" y="5351"/>
                  </a:lnTo>
                  <a:lnTo>
                    <a:pt x="17042" y="5351"/>
                  </a:lnTo>
                  <a:lnTo>
                    <a:pt x="18627" y="5252"/>
                  </a:lnTo>
                  <a:lnTo>
                    <a:pt x="22689" y="5252"/>
                  </a:lnTo>
                  <a:lnTo>
                    <a:pt x="25166" y="5351"/>
                  </a:lnTo>
                  <a:lnTo>
                    <a:pt x="27643" y="5549"/>
                  </a:lnTo>
                  <a:lnTo>
                    <a:pt x="29228" y="5648"/>
                  </a:lnTo>
                  <a:lnTo>
                    <a:pt x="30714" y="5747"/>
                  </a:lnTo>
                  <a:lnTo>
                    <a:pt x="31804" y="5846"/>
                  </a:lnTo>
                  <a:lnTo>
                    <a:pt x="32894" y="6044"/>
                  </a:lnTo>
                  <a:lnTo>
                    <a:pt x="35074" y="6242"/>
                  </a:lnTo>
                  <a:lnTo>
                    <a:pt x="36263" y="6342"/>
                  </a:lnTo>
                  <a:lnTo>
                    <a:pt x="36857" y="6441"/>
                  </a:lnTo>
                  <a:lnTo>
                    <a:pt x="37452" y="6540"/>
                  </a:lnTo>
                  <a:lnTo>
                    <a:pt x="38046" y="6639"/>
                  </a:lnTo>
                  <a:lnTo>
                    <a:pt x="38740" y="6738"/>
                  </a:lnTo>
                  <a:lnTo>
                    <a:pt x="38839" y="6738"/>
                  </a:lnTo>
                  <a:lnTo>
                    <a:pt x="38938" y="6639"/>
                  </a:lnTo>
                  <a:lnTo>
                    <a:pt x="38839" y="6441"/>
                  </a:lnTo>
                  <a:lnTo>
                    <a:pt x="38740" y="5549"/>
                  </a:lnTo>
                  <a:lnTo>
                    <a:pt x="38640" y="4657"/>
                  </a:lnTo>
                  <a:lnTo>
                    <a:pt x="38541" y="3766"/>
                  </a:lnTo>
                  <a:lnTo>
                    <a:pt x="38442" y="2874"/>
                  </a:lnTo>
                  <a:lnTo>
                    <a:pt x="38442" y="2676"/>
                  </a:lnTo>
                  <a:lnTo>
                    <a:pt x="38244" y="2477"/>
                  </a:lnTo>
                  <a:lnTo>
                    <a:pt x="38046" y="2378"/>
                  </a:lnTo>
                  <a:lnTo>
                    <a:pt x="37848" y="2279"/>
                  </a:lnTo>
                  <a:lnTo>
                    <a:pt x="35866" y="1883"/>
                  </a:lnTo>
                  <a:lnTo>
                    <a:pt x="34876" y="1685"/>
                  </a:lnTo>
                  <a:lnTo>
                    <a:pt x="33885" y="1487"/>
                  </a:lnTo>
                  <a:lnTo>
                    <a:pt x="32696" y="1289"/>
                  </a:lnTo>
                  <a:lnTo>
                    <a:pt x="31606" y="1189"/>
                  </a:lnTo>
                  <a:lnTo>
                    <a:pt x="30516" y="1090"/>
                  </a:lnTo>
                  <a:lnTo>
                    <a:pt x="29525" y="892"/>
                  </a:lnTo>
                  <a:lnTo>
                    <a:pt x="28336" y="793"/>
                  </a:lnTo>
                  <a:lnTo>
                    <a:pt x="27346" y="694"/>
                  </a:lnTo>
                  <a:lnTo>
                    <a:pt x="26652" y="595"/>
                  </a:lnTo>
                  <a:lnTo>
                    <a:pt x="26058" y="496"/>
                  </a:lnTo>
                  <a:lnTo>
                    <a:pt x="25463" y="496"/>
                  </a:lnTo>
                  <a:lnTo>
                    <a:pt x="24770" y="397"/>
                  </a:lnTo>
                  <a:lnTo>
                    <a:pt x="23977" y="397"/>
                  </a:lnTo>
                  <a:lnTo>
                    <a:pt x="21797" y="199"/>
                  </a:lnTo>
                  <a:lnTo>
                    <a:pt x="19717" y="199"/>
                  </a:lnTo>
                  <a:lnTo>
                    <a:pt x="18528" y="100"/>
                  </a:lnTo>
                  <a:lnTo>
                    <a:pt x="17339" y="100"/>
                  </a:lnTo>
                  <a:lnTo>
                    <a:pt x="16348" y="1"/>
                  </a:lnTo>
                  <a:close/>
                </a:path>
              </a:pathLst>
            </a:custGeom>
            <a:solidFill>
              <a:srgbClr val="F5A32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  <p:sp>
          <p:nvSpPr>
            <p:cNvPr id="17" name="Google Shape;420;p31">
              <a:extLst>
                <a:ext uri="{FF2B5EF4-FFF2-40B4-BE49-F238E27FC236}">
                  <a16:creationId xmlns:a16="http://schemas.microsoft.com/office/drawing/2014/main" id="{B3A6B9F3-4F3A-2D49-ECAC-590643F72FFD}"/>
                </a:ext>
              </a:extLst>
            </p:cNvPr>
            <p:cNvSpPr/>
            <p:nvPr/>
          </p:nvSpPr>
          <p:spPr>
            <a:xfrm>
              <a:off x="4295116" y="4048107"/>
              <a:ext cx="552038" cy="509107"/>
            </a:xfrm>
            <a:custGeom>
              <a:avLst/>
              <a:gdLst/>
              <a:ahLst/>
              <a:cxnLst/>
              <a:rect l="l" t="t" r="r" b="b"/>
              <a:pathLst>
                <a:path w="17835" h="16448" extrusionOk="0">
                  <a:moveTo>
                    <a:pt x="8719" y="1"/>
                  </a:moveTo>
                  <a:lnTo>
                    <a:pt x="8422" y="298"/>
                  </a:lnTo>
                  <a:lnTo>
                    <a:pt x="8323" y="496"/>
                  </a:lnTo>
                  <a:lnTo>
                    <a:pt x="8224" y="694"/>
                  </a:lnTo>
                  <a:lnTo>
                    <a:pt x="8125" y="992"/>
                  </a:lnTo>
                  <a:lnTo>
                    <a:pt x="7927" y="1289"/>
                  </a:lnTo>
                  <a:lnTo>
                    <a:pt x="7828" y="1388"/>
                  </a:lnTo>
                  <a:lnTo>
                    <a:pt x="7629" y="1388"/>
                  </a:lnTo>
                  <a:lnTo>
                    <a:pt x="7729" y="1487"/>
                  </a:lnTo>
                  <a:lnTo>
                    <a:pt x="7729" y="1685"/>
                  </a:lnTo>
                  <a:lnTo>
                    <a:pt x="7729" y="1982"/>
                  </a:lnTo>
                  <a:lnTo>
                    <a:pt x="7629" y="2181"/>
                  </a:lnTo>
                  <a:lnTo>
                    <a:pt x="7629" y="2379"/>
                  </a:lnTo>
                  <a:lnTo>
                    <a:pt x="7530" y="2577"/>
                  </a:lnTo>
                  <a:lnTo>
                    <a:pt x="7233" y="2379"/>
                  </a:lnTo>
                  <a:lnTo>
                    <a:pt x="7332" y="2775"/>
                  </a:lnTo>
                  <a:lnTo>
                    <a:pt x="7332" y="2973"/>
                  </a:lnTo>
                  <a:lnTo>
                    <a:pt x="7233" y="3171"/>
                  </a:lnTo>
                  <a:lnTo>
                    <a:pt x="6936" y="3469"/>
                  </a:lnTo>
                  <a:lnTo>
                    <a:pt x="6837" y="3865"/>
                  </a:lnTo>
                  <a:lnTo>
                    <a:pt x="6738" y="4261"/>
                  </a:lnTo>
                  <a:lnTo>
                    <a:pt x="6540" y="4558"/>
                  </a:lnTo>
                  <a:lnTo>
                    <a:pt x="6143" y="5054"/>
                  </a:lnTo>
                  <a:lnTo>
                    <a:pt x="6044" y="5252"/>
                  </a:lnTo>
                  <a:lnTo>
                    <a:pt x="5945" y="5549"/>
                  </a:lnTo>
                  <a:lnTo>
                    <a:pt x="5747" y="5549"/>
                  </a:lnTo>
                  <a:lnTo>
                    <a:pt x="5648" y="5648"/>
                  </a:lnTo>
                  <a:lnTo>
                    <a:pt x="5450" y="5747"/>
                  </a:lnTo>
                  <a:lnTo>
                    <a:pt x="5252" y="5747"/>
                  </a:lnTo>
                  <a:lnTo>
                    <a:pt x="4954" y="5648"/>
                  </a:lnTo>
                  <a:lnTo>
                    <a:pt x="4657" y="5648"/>
                  </a:lnTo>
                  <a:lnTo>
                    <a:pt x="2576" y="5747"/>
                  </a:lnTo>
                  <a:lnTo>
                    <a:pt x="397" y="5648"/>
                  </a:lnTo>
                  <a:lnTo>
                    <a:pt x="199" y="5747"/>
                  </a:lnTo>
                  <a:lnTo>
                    <a:pt x="100" y="5747"/>
                  </a:lnTo>
                  <a:lnTo>
                    <a:pt x="0" y="5846"/>
                  </a:lnTo>
                  <a:lnTo>
                    <a:pt x="100" y="6144"/>
                  </a:lnTo>
                  <a:lnTo>
                    <a:pt x="199" y="6342"/>
                  </a:lnTo>
                  <a:lnTo>
                    <a:pt x="496" y="6441"/>
                  </a:lnTo>
                  <a:lnTo>
                    <a:pt x="694" y="6738"/>
                  </a:lnTo>
                  <a:lnTo>
                    <a:pt x="991" y="6936"/>
                  </a:lnTo>
                  <a:lnTo>
                    <a:pt x="1288" y="7035"/>
                  </a:lnTo>
                  <a:lnTo>
                    <a:pt x="1388" y="7134"/>
                  </a:lnTo>
                  <a:lnTo>
                    <a:pt x="1487" y="7234"/>
                  </a:lnTo>
                  <a:lnTo>
                    <a:pt x="1685" y="7531"/>
                  </a:lnTo>
                  <a:lnTo>
                    <a:pt x="1883" y="7729"/>
                  </a:lnTo>
                  <a:lnTo>
                    <a:pt x="2378" y="8224"/>
                  </a:lnTo>
                  <a:lnTo>
                    <a:pt x="2576" y="8522"/>
                  </a:lnTo>
                  <a:lnTo>
                    <a:pt x="2973" y="8720"/>
                  </a:lnTo>
                  <a:lnTo>
                    <a:pt x="3567" y="9215"/>
                  </a:lnTo>
                  <a:lnTo>
                    <a:pt x="3865" y="9512"/>
                  </a:lnTo>
                  <a:lnTo>
                    <a:pt x="4063" y="9909"/>
                  </a:lnTo>
                  <a:lnTo>
                    <a:pt x="4261" y="10602"/>
                  </a:lnTo>
                  <a:lnTo>
                    <a:pt x="4261" y="10800"/>
                  </a:lnTo>
                  <a:lnTo>
                    <a:pt x="4162" y="10800"/>
                  </a:lnTo>
                  <a:lnTo>
                    <a:pt x="3964" y="10899"/>
                  </a:lnTo>
                  <a:lnTo>
                    <a:pt x="3865" y="10998"/>
                  </a:lnTo>
                  <a:lnTo>
                    <a:pt x="3865" y="11098"/>
                  </a:lnTo>
                  <a:lnTo>
                    <a:pt x="3666" y="11395"/>
                  </a:lnTo>
                  <a:lnTo>
                    <a:pt x="3567" y="11791"/>
                  </a:lnTo>
                  <a:lnTo>
                    <a:pt x="3468" y="12485"/>
                  </a:lnTo>
                  <a:lnTo>
                    <a:pt x="3270" y="12980"/>
                  </a:lnTo>
                  <a:lnTo>
                    <a:pt x="3171" y="13475"/>
                  </a:lnTo>
                  <a:lnTo>
                    <a:pt x="2775" y="14466"/>
                  </a:lnTo>
                  <a:lnTo>
                    <a:pt x="2676" y="15259"/>
                  </a:lnTo>
                  <a:lnTo>
                    <a:pt x="2576" y="15754"/>
                  </a:lnTo>
                  <a:lnTo>
                    <a:pt x="2378" y="16151"/>
                  </a:lnTo>
                  <a:lnTo>
                    <a:pt x="2378" y="16250"/>
                  </a:lnTo>
                  <a:lnTo>
                    <a:pt x="2378" y="16349"/>
                  </a:lnTo>
                  <a:lnTo>
                    <a:pt x="2477" y="16448"/>
                  </a:lnTo>
                  <a:lnTo>
                    <a:pt x="2576" y="16448"/>
                  </a:lnTo>
                  <a:lnTo>
                    <a:pt x="2874" y="16250"/>
                  </a:lnTo>
                  <a:lnTo>
                    <a:pt x="3171" y="16151"/>
                  </a:lnTo>
                  <a:lnTo>
                    <a:pt x="3468" y="16051"/>
                  </a:lnTo>
                  <a:lnTo>
                    <a:pt x="3666" y="15952"/>
                  </a:lnTo>
                  <a:lnTo>
                    <a:pt x="4657" y="15358"/>
                  </a:lnTo>
                  <a:lnTo>
                    <a:pt x="5648" y="14863"/>
                  </a:lnTo>
                  <a:lnTo>
                    <a:pt x="6738" y="14367"/>
                  </a:lnTo>
                  <a:lnTo>
                    <a:pt x="7828" y="14070"/>
                  </a:lnTo>
                  <a:lnTo>
                    <a:pt x="8818" y="13773"/>
                  </a:lnTo>
                  <a:lnTo>
                    <a:pt x="9314" y="13773"/>
                  </a:lnTo>
                  <a:lnTo>
                    <a:pt x="9512" y="13872"/>
                  </a:lnTo>
                  <a:lnTo>
                    <a:pt x="9809" y="14070"/>
                  </a:lnTo>
                  <a:lnTo>
                    <a:pt x="10305" y="14367"/>
                  </a:lnTo>
                  <a:lnTo>
                    <a:pt x="10800" y="14565"/>
                  </a:lnTo>
                  <a:lnTo>
                    <a:pt x="11791" y="14962"/>
                  </a:lnTo>
                  <a:lnTo>
                    <a:pt x="12484" y="15259"/>
                  </a:lnTo>
                  <a:lnTo>
                    <a:pt x="13178" y="15655"/>
                  </a:lnTo>
                  <a:lnTo>
                    <a:pt x="13871" y="16051"/>
                  </a:lnTo>
                  <a:lnTo>
                    <a:pt x="14565" y="16448"/>
                  </a:lnTo>
                  <a:lnTo>
                    <a:pt x="15060" y="16448"/>
                  </a:lnTo>
                  <a:lnTo>
                    <a:pt x="15060" y="16349"/>
                  </a:lnTo>
                  <a:lnTo>
                    <a:pt x="15060" y="16051"/>
                  </a:lnTo>
                  <a:lnTo>
                    <a:pt x="14367" y="13475"/>
                  </a:lnTo>
                  <a:lnTo>
                    <a:pt x="13673" y="11098"/>
                  </a:lnTo>
                  <a:lnTo>
                    <a:pt x="13574" y="10602"/>
                  </a:lnTo>
                  <a:lnTo>
                    <a:pt x="13673" y="10305"/>
                  </a:lnTo>
                  <a:lnTo>
                    <a:pt x="13673" y="10107"/>
                  </a:lnTo>
                  <a:lnTo>
                    <a:pt x="14070" y="9512"/>
                  </a:lnTo>
                  <a:lnTo>
                    <a:pt x="14466" y="9017"/>
                  </a:lnTo>
                  <a:lnTo>
                    <a:pt x="14763" y="8918"/>
                  </a:lnTo>
                  <a:lnTo>
                    <a:pt x="14961" y="8720"/>
                  </a:lnTo>
                  <a:lnTo>
                    <a:pt x="15358" y="8224"/>
                  </a:lnTo>
                  <a:lnTo>
                    <a:pt x="15556" y="7927"/>
                  </a:lnTo>
                  <a:lnTo>
                    <a:pt x="15853" y="7828"/>
                  </a:lnTo>
                  <a:lnTo>
                    <a:pt x="16051" y="7630"/>
                  </a:lnTo>
                  <a:lnTo>
                    <a:pt x="16249" y="7432"/>
                  </a:lnTo>
                  <a:lnTo>
                    <a:pt x="16546" y="7234"/>
                  </a:lnTo>
                  <a:lnTo>
                    <a:pt x="16745" y="7035"/>
                  </a:lnTo>
                  <a:lnTo>
                    <a:pt x="16943" y="6936"/>
                  </a:lnTo>
                  <a:lnTo>
                    <a:pt x="17141" y="6738"/>
                  </a:lnTo>
                  <a:lnTo>
                    <a:pt x="17339" y="6540"/>
                  </a:lnTo>
                  <a:lnTo>
                    <a:pt x="17636" y="6342"/>
                  </a:lnTo>
                  <a:lnTo>
                    <a:pt x="17834" y="6144"/>
                  </a:lnTo>
                  <a:lnTo>
                    <a:pt x="17834" y="6045"/>
                  </a:lnTo>
                  <a:lnTo>
                    <a:pt x="17834" y="5946"/>
                  </a:lnTo>
                  <a:lnTo>
                    <a:pt x="17636" y="5747"/>
                  </a:lnTo>
                  <a:lnTo>
                    <a:pt x="17438" y="5648"/>
                  </a:lnTo>
                  <a:lnTo>
                    <a:pt x="12484" y="5648"/>
                  </a:lnTo>
                  <a:lnTo>
                    <a:pt x="12286" y="5846"/>
                  </a:lnTo>
                  <a:lnTo>
                    <a:pt x="12187" y="5946"/>
                  </a:lnTo>
                  <a:lnTo>
                    <a:pt x="11989" y="5846"/>
                  </a:lnTo>
                  <a:lnTo>
                    <a:pt x="11692" y="5450"/>
                  </a:lnTo>
                  <a:lnTo>
                    <a:pt x="11493" y="5351"/>
                  </a:lnTo>
                  <a:lnTo>
                    <a:pt x="11394" y="5153"/>
                  </a:lnTo>
                  <a:lnTo>
                    <a:pt x="10503" y="3072"/>
                  </a:lnTo>
                  <a:lnTo>
                    <a:pt x="9908" y="1685"/>
                  </a:lnTo>
                  <a:lnTo>
                    <a:pt x="9611" y="1091"/>
                  </a:lnTo>
                  <a:lnTo>
                    <a:pt x="9314" y="397"/>
                  </a:lnTo>
                  <a:lnTo>
                    <a:pt x="9017" y="100"/>
                  </a:lnTo>
                  <a:lnTo>
                    <a:pt x="8917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  <p:sp>
          <p:nvSpPr>
            <p:cNvPr id="18" name="Google Shape;433;p31">
              <a:extLst>
                <a:ext uri="{FF2B5EF4-FFF2-40B4-BE49-F238E27FC236}">
                  <a16:creationId xmlns:a16="http://schemas.microsoft.com/office/drawing/2014/main" id="{D0853284-9A6E-4327-D8EF-B72F891B1F3E}"/>
                </a:ext>
              </a:extLst>
            </p:cNvPr>
            <p:cNvSpPr/>
            <p:nvPr/>
          </p:nvSpPr>
          <p:spPr>
            <a:xfrm rot="16200000" flipH="1">
              <a:off x="4543766" y="3069869"/>
              <a:ext cx="57840" cy="3261672"/>
            </a:xfrm>
            <a:custGeom>
              <a:avLst/>
              <a:gdLst/>
              <a:ahLst/>
              <a:cxnLst/>
              <a:rect l="l" t="t" r="r" b="b"/>
              <a:pathLst>
                <a:path w="595" h="21105" extrusionOk="0">
                  <a:moveTo>
                    <a:pt x="396" y="1"/>
                  </a:moveTo>
                  <a:lnTo>
                    <a:pt x="297" y="100"/>
                  </a:lnTo>
                  <a:lnTo>
                    <a:pt x="198" y="2676"/>
                  </a:lnTo>
                  <a:lnTo>
                    <a:pt x="99" y="5351"/>
                  </a:lnTo>
                  <a:lnTo>
                    <a:pt x="99" y="10503"/>
                  </a:lnTo>
                  <a:lnTo>
                    <a:pt x="99" y="15754"/>
                  </a:lnTo>
                  <a:lnTo>
                    <a:pt x="99" y="18330"/>
                  </a:lnTo>
                  <a:lnTo>
                    <a:pt x="0" y="20906"/>
                  </a:lnTo>
                  <a:lnTo>
                    <a:pt x="99" y="21104"/>
                  </a:lnTo>
                  <a:lnTo>
                    <a:pt x="396" y="21104"/>
                  </a:lnTo>
                  <a:lnTo>
                    <a:pt x="495" y="20906"/>
                  </a:lnTo>
                  <a:lnTo>
                    <a:pt x="594" y="18231"/>
                  </a:lnTo>
                  <a:lnTo>
                    <a:pt x="594" y="15556"/>
                  </a:lnTo>
                  <a:lnTo>
                    <a:pt x="495" y="10107"/>
                  </a:lnTo>
                  <a:lnTo>
                    <a:pt x="495" y="7927"/>
                  </a:lnTo>
                  <a:lnTo>
                    <a:pt x="594" y="5747"/>
                  </a:lnTo>
                  <a:lnTo>
                    <a:pt x="594" y="4459"/>
                  </a:lnTo>
                  <a:lnTo>
                    <a:pt x="594" y="3072"/>
                  </a:lnTo>
                  <a:lnTo>
                    <a:pt x="594" y="1586"/>
                  </a:lnTo>
                  <a:lnTo>
                    <a:pt x="594" y="793"/>
                  </a:lnTo>
                  <a:lnTo>
                    <a:pt x="594" y="100"/>
                  </a:lnTo>
                  <a:lnTo>
                    <a:pt x="495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A74EE0D3-EDA5-E4F1-EDBD-3032C63B8A31}"/>
              </a:ext>
            </a:extLst>
          </p:cNvPr>
          <p:cNvSpPr txBox="1"/>
          <p:nvPr/>
        </p:nvSpPr>
        <p:spPr>
          <a:xfrm>
            <a:off x="336884" y="385598"/>
            <a:ext cx="4475747" cy="4770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500">
                <a:latin typeface="Aptos Display"/>
                <a:cs typeface="Arial"/>
              </a:rPr>
              <a:t>ESSI Annual Conference Award</a:t>
            </a:r>
            <a:endParaRPr lang="en-US" sz="2500">
              <a:latin typeface="Aptos Display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D47B54-5CB9-625A-05E3-70AD7C5C08B8}"/>
              </a:ext>
            </a:extLst>
          </p:cNvPr>
          <p:cNvSpPr txBox="1"/>
          <p:nvPr/>
        </p:nvSpPr>
        <p:spPr>
          <a:xfrm>
            <a:off x="311518" y="5462961"/>
            <a:ext cx="8534398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Wingdings"/>
              <a:buChar char="q"/>
            </a:pPr>
            <a:r>
              <a:rPr lang="en-US" sz="2000">
                <a:latin typeface="Aptos Display"/>
                <a:cs typeface="Arial"/>
              </a:rPr>
              <a:t>Hospital-level and Patient-level Data Submission: June - August </a:t>
            </a:r>
          </a:p>
          <a:p>
            <a:pPr marL="285750" indent="-285750">
              <a:buFont typeface="Wingdings"/>
              <a:buChar char="q"/>
            </a:pPr>
            <a:r>
              <a:rPr lang="en-US" sz="2000">
                <a:latin typeface="Aptos Display"/>
                <a:cs typeface="Arial"/>
              </a:rPr>
              <a:t>Webinar Attendance*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D31FD23-E8F9-4EDB-9CBC-35B23F98564A}"/>
              </a:ext>
            </a:extLst>
          </p:cNvPr>
          <p:cNvSpPr txBox="1"/>
          <p:nvPr/>
        </p:nvSpPr>
        <p:spPr>
          <a:xfrm>
            <a:off x="336884" y="6180712"/>
            <a:ext cx="9777880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>
                <a:latin typeface="Aptos Display"/>
                <a:cs typeface="Arial"/>
              </a:rPr>
              <a:t>* </a:t>
            </a:r>
            <a:r>
              <a:rPr lang="en-US" sz="1300" i="1">
                <a:latin typeface="Aptos Display"/>
                <a:cs typeface="Arial"/>
              </a:rPr>
              <a:t>At least one member from ESSI Team engaged in monthly webinars from March-Septembe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B193B8C-9B4B-0692-3232-0410817162CA}"/>
              </a:ext>
            </a:extLst>
          </p:cNvPr>
          <p:cNvSpPr txBox="1"/>
          <p:nvPr/>
        </p:nvSpPr>
        <p:spPr>
          <a:xfrm>
            <a:off x="9662344" y="3242963"/>
            <a:ext cx="1606254" cy="400110"/>
          </a:xfrm>
          <a:prstGeom prst="rect">
            <a:avLst/>
          </a:prstGeom>
          <a:solidFill>
            <a:schemeClr val="bg1"/>
          </a:solidFill>
          <a:ln>
            <a:solidFill>
              <a:srgbClr val="F0678F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>
                <a:solidFill>
                  <a:srgbClr val="F0678F"/>
                </a:solidFill>
                <a:latin typeface="Aptos Display"/>
                <a:cs typeface="Arial"/>
              </a:rPr>
              <a:t>3 /4 in place!</a:t>
            </a:r>
          </a:p>
        </p:txBody>
      </p:sp>
    </p:spTree>
    <p:extLst>
      <p:ext uri="{BB962C8B-B14F-4D97-AF65-F5344CB8AC3E}">
        <p14:creationId xmlns:p14="http://schemas.microsoft.com/office/powerpoint/2010/main" val="31142657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9791C4-9B3C-9538-F299-A006E1E9E4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942" y="704456"/>
            <a:ext cx="9365380" cy="2014679"/>
          </a:xfrm>
        </p:spPr>
        <p:txBody>
          <a:bodyPr/>
          <a:lstStyle/>
          <a:p>
            <a:r>
              <a:rPr lang="en-US">
                <a:latin typeface="Aptos"/>
                <a:ea typeface="Lato Medium"/>
                <a:cs typeface="Prompt"/>
              </a:rPr>
              <a:t>ESSI Aims and Measures</a:t>
            </a:r>
          </a:p>
        </p:txBody>
      </p:sp>
    </p:spTree>
    <p:extLst>
      <p:ext uri="{BB962C8B-B14F-4D97-AF65-F5344CB8AC3E}">
        <p14:creationId xmlns:p14="http://schemas.microsoft.com/office/powerpoint/2010/main" val="33946701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5861D58-2345-8140-2120-DC1F272BBFF2}"/>
              </a:ext>
            </a:extLst>
          </p:cNvPr>
          <p:cNvSpPr/>
          <p:nvPr/>
        </p:nvSpPr>
        <p:spPr>
          <a:xfrm>
            <a:off x="7048499" y="0"/>
            <a:ext cx="5143500" cy="1841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668FC7-57F5-1E3A-49A6-53E69C2CA8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25387" y="6377437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dirty="0" smtClean="0"/>
              <a:pPr/>
              <a:t>1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D55EC6-512E-CD50-1A08-34BC71A40E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7182B8-D745-6D49-E823-6B4C357520B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-1628790" y="-189057"/>
            <a:ext cx="9531829" cy="1334873"/>
          </a:xfrm>
        </p:spPr>
        <p:txBody>
          <a:bodyPr/>
          <a:lstStyle/>
          <a:p>
            <a:pPr algn="ctr"/>
            <a:r>
              <a:rPr lang="en-US" sz="4800">
                <a:ea typeface="Lato Medium"/>
                <a:cs typeface="Lato Medium"/>
              </a:rPr>
              <a:t>ESSI Initiative Aims</a:t>
            </a:r>
            <a:endParaRPr lang="en-US" sz="4800"/>
          </a:p>
        </p:txBody>
      </p:sp>
      <p:grpSp>
        <p:nvGrpSpPr>
          <p:cNvPr id="12" name="Group 3">
            <a:extLst>
              <a:ext uri="{FF2B5EF4-FFF2-40B4-BE49-F238E27FC236}">
                <a16:creationId xmlns:a16="http://schemas.microsoft.com/office/drawing/2014/main" id="{A28016B6-6D80-89E3-91AF-D930E421AD61}"/>
              </a:ext>
            </a:extLst>
          </p:cNvPr>
          <p:cNvGrpSpPr/>
          <p:nvPr/>
        </p:nvGrpSpPr>
        <p:grpSpPr>
          <a:xfrm>
            <a:off x="608847" y="787285"/>
            <a:ext cx="11250165" cy="1346928"/>
            <a:chOff x="0" y="-57150"/>
            <a:chExt cx="2879117" cy="697690"/>
          </a:xfrm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966BE466-0331-E647-C2F5-1581C924B039}"/>
                </a:ext>
              </a:extLst>
            </p:cNvPr>
            <p:cNvSpPr/>
            <p:nvPr/>
          </p:nvSpPr>
          <p:spPr>
            <a:xfrm>
              <a:off x="0" y="0"/>
              <a:ext cx="2879117" cy="640540"/>
            </a:xfrm>
            <a:custGeom>
              <a:avLst/>
              <a:gdLst/>
              <a:ahLst/>
              <a:cxnLst/>
              <a:rect l="l" t="t" r="r" b="b"/>
              <a:pathLst>
                <a:path w="2879117" h="640540">
                  <a:moveTo>
                    <a:pt x="36119" y="0"/>
                  </a:moveTo>
                  <a:lnTo>
                    <a:pt x="2842998" y="0"/>
                  </a:lnTo>
                  <a:cubicBezTo>
                    <a:pt x="2852578" y="0"/>
                    <a:pt x="2861764" y="3805"/>
                    <a:pt x="2868538" y="10579"/>
                  </a:cubicBezTo>
                  <a:cubicBezTo>
                    <a:pt x="2875312" y="17353"/>
                    <a:pt x="2879117" y="26539"/>
                    <a:pt x="2879117" y="36119"/>
                  </a:cubicBezTo>
                  <a:lnTo>
                    <a:pt x="2879117" y="604421"/>
                  </a:lnTo>
                  <a:cubicBezTo>
                    <a:pt x="2879117" y="614001"/>
                    <a:pt x="2875312" y="623188"/>
                    <a:pt x="2868538" y="629961"/>
                  </a:cubicBezTo>
                  <a:cubicBezTo>
                    <a:pt x="2861764" y="636735"/>
                    <a:pt x="2852578" y="640540"/>
                    <a:pt x="2842998" y="640540"/>
                  </a:cubicBezTo>
                  <a:lnTo>
                    <a:pt x="36119" y="640540"/>
                  </a:lnTo>
                  <a:cubicBezTo>
                    <a:pt x="26539" y="640540"/>
                    <a:pt x="17353" y="636735"/>
                    <a:pt x="10579" y="629961"/>
                  </a:cubicBezTo>
                  <a:cubicBezTo>
                    <a:pt x="3805" y="623188"/>
                    <a:pt x="0" y="614001"/>
                    <a:pt x="0" y="604421"/>
                  </a:cubicBezTo>
                  <a:lnTo>
                    <a:pt x="0" y="36119"/>
                  </a:lnTo>
                  <a:cubicBezTo>
                    <a:pt x="0" y="26539"/>
                    <a:pt x="3805" y="17353"/>
                    <a:pt x="10579" y="10579"/>
                  </a:cubicBezTo>
                  <a:cubicBezTo>
                    <a:pt x="17353" y="3805"/>
                    <a:pt x="26539" y="0"/>
                    <a:pt x="36119" y="0"/>
                  </a:cubicBezTo>
                  <a:close/>
                </a:path>
              </a:pathLst>
            </a:custGeom>
            <a:solidFill>
              <a:srgbClr val="6B95FD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B604E516-649C-1FD9-2519-CEA85AA2096B}"/>
                </a:ext>
              </a:extLst>
            </p:cNvPr>
            <p:cNvSpPr txBox="1"/>
            <p:nvPr/>
          </p:nvSpPr>
          <p:spPr>
            <a:xfrm>
              <a:off x="0" y="-57150"/>
              <a:ext cx="2879117" cy="69769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grpSp>
        <p:nvGrpSpPr>
          <p:cNvPr id="16" name="Group 6">
            <a:extLst>
              <a:ext uri="{FF2B5EF4-FFF2-40B4-BE49-F238E27FC236}">
                <a16:creationId xmlns:a16="http://schemas.microsoft.com/office/drawing/2014/main" id="{80963B6F-3E16-814E-7593-2BE3F5176BAA}"/>
              </a:ext>
            </a:extLst>
          </p:cNvPr>
          <p:cNvGrpSpPr/>
          <p:nvPr/>
        </p:nvGrpSpPr>
        <p:grpSpPr>
          <a:xfrm>
            <a:off x="608847" y="2215964"/>
            <a:ext cx="11288265" cy="1272328"/>
            <a:chOff x="0" y="-57150"/>
            <a:chExt cx="2879117" cy="547803"/>
          </a:xfrm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A080C1E4-8D81-DC7D-733F-543A19CACC97}"/>
                </a:ext>
              </a:extLst>
            </p:cNvPr>
            <p:cNvSpPr/>
            <p:nvPr/>
          </p:nvSpPr>
          <p:spPr>
            <a:xfrm>
              <a:off x="0" y="0"/>
              <a:ext cx="2879117" cy="490653"/>
            </a:xfrm>
            <a:custGeom>
              <a:avLst/>
              <a:gdLst/>
              <a:ahLst/>
              <a:cxnLst/>
              <a:rect l="l" t="t" r="r" b="b"/>
              <a:pathLst>
                <a:path w="2879117" h="490653">
                  <a:moveTo>
                    <a:pt x="36119" y="0"/>
                  </a:moveTo>
                  <a:lnTo>
                    <a:pt x="2842998" y="0"/>
                  </a:lnTo>
                  <a:cubicBezTo>
                    <a:pt x="2852578" y="0"/>
                    <a:pt x="2861764" y="3805"/>
                    <a:pt x="2868538" y="10579"/>
                  </a:cubicBezTo>
                  <a:cubicBezTo>
                    <a:pt x="2875312" y="17353"/>
                    <a:pt x="2879117" y="26539"/>
                    <a:pt x="2879117" y="36119"/>
                  </a:cubicBezTo>
                  <a:lnTo>
                    <a:pt x="2879117" y="454535"/>
                  </a:lnTo>
                  <a:cubicBezTo>
                    <a:pt x="2879117" y="464114"/>
                    <a:pt x="2875312" y="473301"/>
                    <a:pt x="2868538" y="480074"/>
                  </a:cubicBezTo>
                  <a:cubicBezTo>
                    <a:pt x="2861764" y="486848"/>
                    <a:pt x="2852578" y="490653"/>
                    <a:pt x="2842998" y="490653"/>
                  </a:cubicBezTo>
                  <a:lnTo>
                    <a:pt x="36119" y="490653"/>
                  </a:lnTo>
                  <a:cubicBezTo>
                    <a:pt x="26539" y="490653"/>
                    <a:pt x="17353" y="486848"/>
                    <a:pt x="10579" y="480074"/>
                  </a:cubicBezTo>
                  <a:cubicBezTo>
                    <a:pt x="3805" y="473301"/>
                    <a:pt x="0" y="464114"/>
                    <a:pt x="0" y="454535"/>
                  </a:cubicBezTo>
                  <a:lnTo>
                    <a:pt x="0" y="36119"/>
                  </a:lnTo>
                  <a:cubicBezTo>
                    <a:pt x="0" y="26539"/>
                    <a:pt x="3805" y="17353"/>
                    <a:pt x="10579" y="10579"/>
                  </a:cubicBezTo>
                  <a:cubicBezTo>
                    <a:pt x="17353" y="3805"/>
                    <a:pt x="26539" y="0"/>
                    <a:pt x="36119" y="0"/>
                  </a:cubicBezTo>
                  <a:close/>
                </a:path>
              </a:pathLst>
            </a:custGeom>
            <a:solidFill>
              <a:srgbClr val="1C498B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TextBox 8">
              <a:extLst>
                <a:ext uri="{FF2B5EF4-FFF2-40B4-BE49-F238E27FC236}">
                  <a16:creationId xmlns:a16="http://schemas.microsoft.com/office/drawing/2014/main" id="{41866C53-10BB-5C7A-FBB8-8B559FBF4543}"/>
                </a:ext>
              </a:extLst>
            </p:cNvPr>
            <p:cNvSpPr txBox="1"/>
            <p:nvPr/>
          </p:nvSpPr>
          <p:spPr>
            <a:xfrm>
              <a:off x="0" y="-57150"/>
              <a:ext cx="2879117" cy="547803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grpSp>
        <p:nvGrpSpPr>
          <p:cNvPr id="20" name="Group 9">
            <a:extLst>
              <a:ext uri="{FF2B5EF4-FFF2-40B4-BE49-F238E27FC236}">
                <a16:creationId xmlns:a16="http://schemas.microsoft.com/office/drawing/2014/main" id="{57B897C2-5645-67EB-E870-DDA8EEAA309C}"/>
              </a:ext>
            </a:extLst>
          </p:cNvPr>
          <p:cNvGrpSpPr/>
          <p:nvPr/>
        </p:nvGrpSpPr>
        <p:grpSpPr>
          <a:xfrm>
            <a:off x="91329" y="1152079"/>
            <a:ext cx="812800" cy="825500"/>
            <a:chOff x="0" y="0"/>
            <a:chExt cx="812800" cy="812800"/>
          </a:xfrm>
        </p:grpSpPr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C87BADC8-1879-2359-C52E-E819876B32FA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C45ED1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TextBox 11">
              <a:extLst>
                <a:ext uri="{FF2B5EF4-FFF2-40B4-BE49-F238E27FC236}">
                  <a16:creationId xmlns:a16="http://schemas.microsoft.com/office/drawing/2014/main" id="{AF32047E-EB6B-BD4B-76DD-7D47B980544C}"/>
                </a:ext>
              </a:extLst>
            </p:cNvPr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26" name="TextBox 15">
            <a:extLst>
              <a:ext uri="{FF2B5EF4-FFF2-40B4-BE49-F238E27FC236}">
                <a16:creationId xmlns:a16="http://schemas.microsoft.com/office/drawing/2014/main" id="{E9780070-BCB0-A4DC-93F5-6A72106D04EE}"/>
              </a:ext>
            </a:extLst>
          </p:cNvPr>
          <p:cNvSpPr txBox="1"/>
          <p:nvPr/>
        </p:nvSpPr>
        <p:spPr>
          <a:xfrm>
            <a:off x="992051" y="1158360"/>
            <a:ext cx="10796527" cy="9517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00"/>
              </a:lnSpc>
            </a:pPr>
            <a:r>
              <a:rPr lang="en-US" sz="2000">
                <a:solidFill>
                  <a:srgbClr val="FFFFFF"/>
                </a:solidFill>
                <a:latin typeface="DM Sans"/>
              </a:rPr>
              <a:t>By December 2025, greater than 70% of Illinois birthing and children’s hospitals will address disparities and promote neonatal equity by actively participating in the ESSI initiative.​</a:t>
            </a:r>
          </a:p>
          <a:p>
            <a:pPr>
              <a:lnSpc>
                <a:spcPts val="2167"/>
              </a:lnSpc>
            </a:pPr>
            <a:endParaRPr lang="en-US" sz="2000">
              <a:solidFill>
                <a:srgbClr val="FFFFFF"/>
              </a:solidFill>
              <a:latin typeface="DM Sans"/>
            </a:endParaRPr>
          </a:p>
        </p:txBody>
      </p:sp>
      <p:sp>
        <p:nvSpPr>
          <p:cNvPr id="28" name="TextBox 16">
            <a:extLst>
              <a:ext uri="{FF2B5EF4-FFF2-40B4-BE49-F238E27FC236}">
                <a16:creationId xmlns:a16="http://schemas.microsoft.com/office/drawing/2014/main" id="{8C1D734D-3C73-E6F6-D1A8-CF64A5F8112D}"/>
              </a:ext>
            </a:extLst>
          </p:cNvPr>
          <p:cNvSpPr txBox="1"/>
          <p:nvPr/>
        </p:nvSpPr>
        <p:spPr>
          <a:xfrm>
            <a:off x="1111307" y="2549809"/>
            <a:ext cx="10558015" cy="65678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00"/>
              </a:lnSpc>
            </a:pPr>
            <a:r>
              <a:rPr lang="en-US" sz="2000">
                <a:solidFill>
                  <a:srgbClr val="FFFFFF"/>
                </a:solidFill>
                <a:latin typeface="DM Sans"/>
              </a:rPr>
              <a:t>By December 2025, greater than 80% of infants will be discharged from ILPQC hospitals with a completed ESSI Bundle.</a:t>
            </a:r>
          </a:p>
        </p:txBody>
      </p:sp>
      <p:sp>
        <p:nvSpPr>
          <p:cNvPr id="30" name="Freeform 17">
            <a:extLst>
              <a:ext uri="{FF2B5EF4-FFF2-40B4-BE49-F238E27FC236}">
                <a16:creationId xmlns:a16="http://schemas.microsoft.com/office/drawing/2014/main" id="{807B8E33-7EFF-7586-9B2A-EEB15CC8C381}"/>
              </a:ext>
            </a:extLst>
          </p:cNvPr>
          <p:cNvSpPr/>
          <p:nvPr/>
        </p:nvSpPr>
        <p:spPr>
          <a:xfrm>
            <a:off x="886026" y="4618936"/>
            <a:ext cx="3150228" cy="608867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80"/>
                </a:lnTo>
                <a:lnTo>
                  <a:pt x="0" y="78078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2" name="TextBox 18">
            <a:extLst>
              <a:ext uri="{FF2B5EF4-FFF2-40B4-BE49-F238E27FC236}">
                <a16:creationId xmlns:a16="http://schemas.microsoft.com/office/drawing/2014/main" id="{A29085F2-BEE6-99AF-40AD-620EFEAA68F9}"/>
              </a:ext>
            </a:extLst>
          </p:cNvPr>
          <p:cNvSpPr txBox="1"/>
          <p:nvPr/>
        </p:nvSpPr>
        <p:spPr>
          <a:xfrm>
            <a:off x="1387344" y="4808167"/>
            <a:ext cx="2028316" cy="3002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READINESS</a:t>
            </a:r>
          </a:p>
        </p:txBody>
      </p:sp>
      <p:sp>
        <p:nvSpPr>
          <p:cNvPr id="34" name="Freeform 19">
            <a:extLst>
              <a:ext uri="{FF2B5EF4-FFF2-40B4-BE49-F238E27FC236}">
                <a16:creationId xmlns:a16="http://schemas.microsoft.com/office/drawing/2014/main" id="{27AAACD0-2AD9-0861-FD85-F167BEEF8D8C}"/>
              </a:ext>
            </a:extLst>
          </p:cNvPr>
          <p:cNvSpPr/>
          <p:nvPr/>
        </p:nvSpPr>
        <p:spPr>
          <a:xfrm>
            <a:off x="893425" y="5385726"/>
            <a:ext cx="3150228" cy="627629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79"/>
                </a:lnTo>
                <a:lnTo>
                  <a:pt x="0" y="780779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6" name="TextBox 20">
            <a:extLst>
              <a:ext uri="{FF2B5EF4-FFF2-40B4-BE49-F238E27FC236}">
                <a16:creationId xmlns:a16="http://schemas.microsoft.com/office/drawing/2014/main" id="{73602F57-63E5-AD2C-8F35-EEE5A55C03B9}"/>
              </a:ext>
            </a:extLst>
          </p:cNvPr>
          <p:cNvSpPr txBox="1"/>
          <p:nvPr/>
        </p:nvSpPr>
        <p:spPr>
          <a:xfrm>
            <a:off x="836786" y="5577580"/>
            <a:ext cx="3206735" cy="3002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TRANSFER OF CARE</a:t>
            </a:r>
          </a:p>
        </p:txBody>
      </p:sp>
      <p:sp>
        <p:nvSpPr>
          <p:cNvPr id="38" name="Freeform 21">
            <a:extLst>
              <a:ext uri="{FF2B5EF4-FFF2-40B4-BE49-F238E27FC236}">
                <a16:creationId xmlns:a16="http://schemas.microsoft.com/office/drawing/2014/main" id="{B9969608-898E-6FC6-1F08-56733F2AA44B}"/>
              </a:ext>
            </a:extLst>
          </p:cNvPr>
          <p:cNvSpPr/>
          <p:nvPr/>
        </p:nvSpPr>
        <p:spPr>
          <a:xfrm>
            <a:off x="888227" y="3819390"/>
            <a:ext cx="3148028" cy="608493"/>
          </a:xfrm>
          <a:custGeom>
            <a:avLst/>
            <a:gdLst/>
            <a:ahLst/>
            <a:cxnLst/>
            <a:rect l="l" t="t" r="r" b="b"/>
            <a:pathLst>
              <a:path w="4589522" h="780219">
                <a:moveTo>
                  <a:pt x="0" y="0"/>
                </a:moveTo>
                <a:lnTo>
                  <a:pt x="4589521" y="0"/>
                </a:lnTo>
                <a:lnTo>
                  <a:pt x="4589521" y="780218"/>
                </a:lnTo>
                <a:lnTo>
                  <a:pt x="0" y="780218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0" name="TextBox 22">
            <a:extLst>
              <a:ext uri="{FF2B5EF4-FFF2-40B4-BE49-F238E27FC236}">
                <a16:creationId xmlns:a16="http://schemas.microsoft.com/office/drawing/2014/main" id="{9869AD74-D8A3-0B44-10F4-685B412FCB24}"/>
              </a:ext>
            </a:extLst>
          </p:cNvPr>
          <p:cNvSpPr txBox="1"/>
          <p:nvPr/>
        </p:nvSpPr>
        <p:spPr>
          <a:xfrm>
            <a:off x="298855" y="947398"/>
            <a:ext cx="410448" cy="10348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8587"/>
              </a:lnSpc>
            </a:pPr>
            <a:r>
              <a:rPr lang="en-US" sz="6134">
                <a:solidFill>
                  <a:srgbClr val="FFFFFF"/>
                </a:solidFill>
                <a:latin typeface="Canva Sans 2 Bold"/>
              </a:rPr>
              <a:t>1</a:t>
            </a:r>
          </a:p>
        </p:txBody>
      </p:sp>
      <p:sp>
        <p:nvSpPr>
          <p:cNvPr id="44" name="TextBox 24">
            <a:extLst>
              <a:ext uri="{FF2B5EF4-FFF2-40B4-BE49-F238E27FC236}">
                <a16:creationId xmlns:a16="http://schemas.microsoft.com/office/drawing/2014/main" id="{E3D868BB-9056-5F85-37FB-DC17C2377580}"/>
              </a:ext>
            </a:extLst>
          </p:cNvPr>
          <p:cNvSpPr txBox="1"/>
          <p:nvPr/>
        </p:nvSpPr>
        <p:spPr>
          <a:xfrm>
            <a:off x="1488052" y="4008485"/>
            <a:ext cx="1951014" cy="3112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AWARENESS</a:t>
            </a:r>
          </a:p>
        </p:txBody>
      </p:sp>
      <p:sp>
        <p:nvSpPr>
          <p:cNvPr id="46" name="TextBox 25">
            <a:extLst>
              <a:ext uri="{FF2B5EF4-FFF2-40B4-BE49-F238E27FC236}">
                <a16:creationId xmlns:a16="http://schemas.microsoft.com/office/drawing/2014/main" id="{1072F846-48B0-2F56-6528-205809296213}"/>
              </a:ext>
            </a:extLst>
          </p:cNvPr>
          <p:cNvSpPr txBox="1"/>
          <p:nvPr/>
        </p:nvSpPr>
        <p:spPr>
          <a:xfrm>
            <a:off x="4312052" y="3863840"/>
            <a:ext cx="7763339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DM Sans"/>
                <a:ea typeface="Calibri"/>
                <a:cs typeface="Calibri"/>
              </a:rPr>
              <a:t>Parents or caregivers report an understanding of a safe sleep environment.</a:t>
            </a:r>
          </a:p>
        </p:txBody>
      </p:sp>
      <p:sp>
        <p:nvSpPr>
          <p:cNvPr id="48" name="TextBox 26">
            <a:extLst>
              <a:ext uri="{FF2B5EF4-FFF2-40B4-BE49-F238E27FC236}">
                <a16:creationId xmlns:a16="http://schemas.microsoft.com/office/drawing/2014/main" id="{9DA002CE-213B-0EFE-03DC-C3DB65BCF003}"/>
              </a:ext>
            </a:extLst>
          </p:cNvPr>
          <p:cNvSpPr txBox="1"/>
          <p:nvPr/>
        </p:nvSpPr>
        <p:spPr>
          <a:xfrm>
            <a:off x="4311686" y="4691360"/>
            <a:ext cx="7409744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DM Sans"/>
                <a:ea typeface="+mn-lt"/>
                <a:cs typeface="+mn-lt"/>
              </a:rPr>
              <a:t>Family is prepared for a transition to home, including </a:t>
            </a:r>
            <a:r>
              <a:rPr lang="en-US" sz="2200" err="1">
                <a:solidFill>
                  <a:srgbClr val="000000"/>
                </a:solidFill>
                <a:latin typeface="DM Sans"/>
                <a:ea typeface="+mn-lt"/>
                <a:cs typeface="+mn-lt"/>
              </a:rPr>
              <a:t>SDoH</a:t>
            </a:r>
            <a:r>
              <a:rPr lang="en-US" sz="2200">
                <a:solidFill>
                  <a:srgbClr val="000000"/>
                </a:solidFill>
                <a:latin typeface="DM Sans"/>
                <a:ea typeface="+mn-lt"/>
                <a:cs typeface="+mn-lt"/>
              </a:rPr>
              <a:t> screening and resource linkage.</a:t>
            </a:r>
            <a:endParaRPr lang="en-US" sz="2200">
              <a:solidFill>
                <a:srgbClr val="000000"/>
              </a:solidFill>
              <a:latin typeface="DM Sans"/>
            </a:endParaRPr>
          </a:p>
        </p:txBody>
      </p:sp>
      <p:sp>
        <p:nvSpPr>
          <p:cNvPr id="50" name="TextBox 27">
            <a:extLst>
              <a:ext uri="{FF2B5EF4-FFF2-40B4-BE49-F238E27FC236}">
                <a16:creationId xmlns:a16="http://schemas.microsoft.com/office/drawing/2014/main" id="{484FA518-5005-04AD-A148-23B555389D18}"/>
              </a:ext>
            </a:extLst>
          </p:cNvPr>
          <p:cNvSpPr txBox="1"/>
          <p:nvPr/>
        </p:nvSpPr>
        <p:spPr>
          <a:xfrm>
            <a:off x="4314936" y="5564972"/>
            <a:ext cx="7457964" cy="29219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DM Sans"/>
                <a:ea typeface="Calibri"/>
                <a:cs typeface="Calibri"/>
              </a:rPr>
              <a:t>Communication to primary care provider completed.</a:t>
            </a:r>
            <a:endParaRPr lang="en-US" sz="2200">
              <a:latin typeface="DM Sans"/>
              <a:cs typeface="Calibri"/>
            </a:endParaRPr>
          </a:p>
        </p:txBody>
      </p:sp>
      <p:grpSp>
        <p:nvGrpSpPr>
          <p:cNvPr id="7" name="Group 9">
            <a:extLst>
              <a:ext uri="{FF2B5EF4-FFF2-40B4-BE49-F238E27FC236}">
                <a16:creationId xmlns:a16="http://schemas.microsoft.com/office/drawing/2014/main" id="{59DCCF77-1BDF-BB49-8752-58A43F365FAC}"/>
              </a:ext>
            </a:extLst>
          </p:cNvPr>
          <p:cNvGrpSpPr/>
          <p:nvPr/>
        </p:nvGrpSpPr>
        <p:grpSpPr>
          <a:xfrm>
            <a:off x="91329" y="2498278"/>
            <a:ext cx="812800" cy="825500"/>
            <a:chOff x="0" y="0"/>
            <a:chExt cx="812800" cy="812800"/>
          </a:xfrm>
        </p:grpSpPr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E15AE669-9885-B6BE-D637-60B38E0F95F5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C45ED1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TextBox 11">
              <a:extLst>
                <a:ext uri="{FF2B5EF4-FFF2-40B4-BE49-F238E27FC236}">
                  <a16:creationId xmlns:a16="http://schemas.microsoft.com/office/drawing/2014/main" id="{2EC913AF-9BAA-D267-4DAB-C2EAAC071B91}"/>
                </a:ext>
              </a:extLst>
            </p:cNvPr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42" name="TextBox 23">
            <a:extLst>
              <a:ext uri="{FF2B5EF4-FFF2-40B4-BE49-F238E27FC236}">
                <a16:creationId xmlns:a16="http://schemas.microsoft.com/office/drawing/2014/main" id="{FB430A34-582F-067B-AEF5-DB4764FC6C5A}"/>
              </a:ext>
            </a:extLst>
          </p:cNvPr>
          <p:cNvSpPr txBox="1"/>
          <p:nvPr/>
        </p:nvSpPr>
        <p:spPr>
          <a:xfrm>
            <a:off x="290166" y="2295809"/>
            <a:ext cx="434023" cy="10348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8587"/>
              </a:lnSpc>
            </a:pPr>
            <a:r>
              <a:rPr lang="en-US" sz="6134">
                <a:solidFill>
                  <a:srgbClr val="FFFFFF"/>
                </a:solidFill>
                <a:latin typeface="Canva Sans 2 Bold"/>
              </a:rPr>
              <a:t>2</a:t>
            </a:r>
          </a:p>
        </p:txBody>
      </p:sp>
      <p:sp>
        <p:nvSpPr>
          <p:cNvPr id="13" name="Freeform 13">
            <a:extLst>
              <a:ext uri="{FF2B5EF4-FFF2-40B4-BE49-F238E27FC236}">
                <a16:creationId xmlns:a16="http://schemas.microsoft.com/office/drawing/2014/main" id="{3BDDD164-0124-FE54-AD8E-88B343F5817D}"/>
              </a:ext>
            </a:extLst>
          </p:cNvPr>
          <p:cNvSpPr/>
          <p:nvPr/>
        </p:nvSpPr>
        <p:spPr>
          <a:xfrm>
            <a:off x="9566983" y="166209"/>
            <a:ext cx="1520914" cy="655191"/>
          </a:xfrm>
          <a:custGeom>
            <a:avLst/>
            <a:gdLst/>
            <a:ahLst/>
            <a:cxnLst/>
            <a:rect l="l" t="t" r="r" b="b"/>
            <a:pathLst>
              <a:path w="2281371" h="982786">
                <a:moveTo>
                  <a:pt x="0" y="0"/>
                </a:moveTo>
                <a:lnTo>
                  <a:pt x="2281372" y="0"/>
                </a:lnTo>
                <a:lnTo>
                  <a:pt x="2281372" y="982786"/>
                </a:lnTo>
                <a:lnTo>
                  <a:pt x="0" y="982786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47560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1845693" y="484263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" name="Freeform 3"/>
          <p:cNvSpPr/>
          <p:nvPr/>
        </p:nvSpPr>
        <p:spPr>
          <a:xfrm>
            <a:off x="1845693" y="1550509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8"/>
                </a:lnTo>
                <a:lnTo>
                  <a:pt x="0" y="1027868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" name="Freeform 4"/>
          <p:cNvSpPr/>
          <p:nvPr/>
        </p:nvSpPr>
        <p:spPr>
          <a:xfrm>
            <a:off x="1845693" y="2616754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1845693" y="3719974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" name="Freeform 6"/>
          <p:cNvSpPr/>
          <p:nvPr/>
        </p:nvSpPr>
        <p:spPr>
          <a:xfrm>
            <a:off x="1845693" y="4786220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7" name="Freeform 7"/>
          <p:cNvSpPr/>
          <p:nvPr/>
        </p:nvSpPr>
        <p:spPr>
          <a:xfrm>
            <a:off x="4269331" y="1475298"/>
            <a:ext cx="1176995" cy="835667"/>
          </a:xfrm>
          <a:custGeom>
            <a:avLst/>
            <a:gdLst/>
            <a:ahLst/>
            <a:cxnLst/>
            <a:rect l="l" t="t" r="r" b="b"/>
            <a:pathLst>
              <a:path w="1765493" h="1253500">
                <a:moveTo>
                  <a:pt x="0" y="0"/>
                </a:moveTo>
                <a:lnTo>
                  <a:pt x="1765493" y="0"/>
                </a:lnTo>
                <a:lnTo>
                  <a:pt x="1765493" y="1253500"/>
                </a:lnTo>
                <a:lnTo>
                  <a:pt x="0" y="1253500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8" name="Freeform 8"/>
          <p:cNvSpPr/>
          <p:nvPr/>
        </p:nvSpPr>
        <p:spPr>
          <a:xfrm>
            <a:off x="4435542" y="337989"/>
            <a:ext cx="844571" cy="977795"/>
          </a:xfrm>
          <a:custGeom>
            <a:avLst/>
            <a:gdLst/>
            <a:ahLst/>
            <a:cxnLst/>
            <a:rect l="l" t="t" r="r" b="b"/>
            <a:pathLst>
              <a:path w="1266856" h="1466693">
                <a:moveTo>
                  <a:pt x="0" y="0"/>
                </a:moveTo>
                <a:lnTo>
                  <a:pt x="1266857" y="0"/>
                </a:lnTo>
                <a:lnTo>
                  <a:pt x="1266857" y="1466693"/>
                </a:lnTo>
                <a:lnTo>
                  <a:pt x="0" y="1466693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9" name="Freeform 9"/>
          <p:cNvSpPr/>
          <p:nvPr/>
        </p:nvSpPr>
        <p:spPr>
          <a:xfrm>
            <a:off x="4359071" y="2554817"/>
            <a:ext cx="997512" cy="874183"/>
          </a:xfrm>
          <a:custGeom>
            <a:avLst/>
            <a:gdLst/>
            <a:ahLst/>
            <a:cxnLst/>
            <a:rect l="l" t="t" r="r" b="b"/>
            <a:pathLst>
              <a:path w="1496268" h="1311275">
                <a:moveTo>
                  <a:pt x="0" y="0"/>
                </a:moveTo>
                <a:lnTo>
                  <a:pt x="1496269" y="0"/>
                </a:lnTo>
                <a:lnTo>
                  <a:pt x="1496269" y="1311275"/>
                </a:lnTo>
                <a:lnTo>
                  <a:pt x="0" y="1311275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0" name="Freeform 10"/>
          <p:cNvSpPr/>
          <p:nvPr/>
        </p:nvSpPr>
        <p:spPr>
          <a:xfrm>
            <a:off x="4335393" y="3532928"/>
            <a:ext cx="1021191" cy="1080626"/>
          </a:xfrm>
          <a:custGeom>
            <a:avLst/>
            <a:gdLst/>
            <a:ahLst/>
            <a:cxnLst/>
            <a:rect l="l" t="t" r="r" b="b"/>
            <a:pathLst>
              <a:path w="1531787" h="1620939">
                <a:moveTo>
                  <a:pt x="0" y="0"/>
                </a:moveTo>
                <a:lnTo>
                  <a:pt x="1531787" y="0"/>
                </a:lnTo>
                <a:lnTo>
                  <a:pt x="1531787" y="1620939"/>
                </a:lnTo>
                <a:lnTo>
                  <a:pt x="0" y="1620939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1" name="Freeform 11"/>
          <p:cNvSpPr/>
          <p:nvPr/>
        </p:nvSpPr>
        <p:spPr>
          <a:xfrm>
            <a:off x="4437945" y="4715153"/>
            <a:ext cx="1008380" cy="1016000"/>
          </a:xfrm>
          <a:custGeom>
            <a:avLst/>
            <a:gdLst/>
            <a:ahLst/>
            <a:cxnLst/>
            <a:rect l="l" t="t" r="r" b="b"/>
            <a:pathLst>
              <a:path w="1512570" h="1524000">
                <a:moveTo>
                  <a:pt x="0" y="0"/>
                </a:moveTo>
                <a:lnTo>
                  <a:pt x="1512570" y="0"/>
                </a:lnTo>
                <a:lnTo>
                  <a:pt x="1512570" y="1524000"/>
                </a:lnTo>
                <a:lnTo>
                  <a:pt x="0" y="1524000"/>
                </a:lnTo>
                <a:lnTo>
                  <a:pt x="0" y="0"/>
                </a:lnTo>
                <a:close/>
              </a:path>
            </a:pathLst>
          </a:custGeom>
          <a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2" name="TextBox 12"/>
          <p:cNvSpPr txBox="1"/>
          <p:nvPr/>
        </p:nvSpPr>
        <p:spPr>
          <a:xfrm>
            <a:off x="2074739" y="646616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1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2074739" y="1684639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2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2074739" y="2750885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3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6096000" y="711200"/>
            <a:ext cx="5573501" cy="3379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40"/>
              </a:lnSpc>
            </a:pPr>
            <a:r>
              <a:rPr lang="en-US" sz="2400">
                <a:solidFill>
                  <a:srgbClr val="545454"/>
                </a:solidFill>
                <a:latin typeface="DM Sans"/>
                <a:cs typeface="Calibri"/>
              </a:rPr>
              <a:t>Healthcare Professional Commitment</a:t>
            </a:r>
          </a:p>
        </p:txBody>
      </p:sp>
      <p:sp>
        <p:nvSpPr>
          <p:cNvPr id="16" name="TextBox 16"/>
          <p:cNvSpPr txBox="1"/>
          <p:nvPr/>
        </p:nvSpPr>
        <p:spPr>
          <a:xfrm>
            <a:off x="6096000" y="1727818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00">
                <a:solidFill>
                  <a:srgbClr val="545454"/>
                </a:solidFill>
                <a:latin typeface="DM Sans"/>
                <a:cs typeface="Calibri"/>
              </a:rPr>
              <a:t>Inclusive Clinical Environment</a:t>
            </a:r>
          </a:p>
        </p:txBody>
      </p:sp>
      <p:sp>
        <p:nvSpPr>
          <p:cNvPr id="17" name="TextBox 17"/>
          <p:cNvSpPr txBox="1"/>
          <p:nvPr/>
        </p:nvSpPr>
        <p:spPr>
          <a:xfrm>
            <a:off x="6096000" y="2825179"/>
            <a:ext cx="5573501" cy="3379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40"/>
              </a:lnSpc>
            </a:pPr>
            <a:r>
              <a:rPr lang="en-US" sz="2400">
                <a:solidFill>
                  <a:srgbClr val="545454"/>
                </a:solidFill>
                <a:latin typeface="DM Sans"/>
                <a:cs typeface="Calibri"/>
              </a:rPr>
              <a:t>Parents and Caregiver Empowerment</a:t>
            </a:r>
          </a:p>
        </p:txBody>
      </p:sp>
      <p:sp>
        <p:nvSpPr>
          <p:cNvPr id="18" name="TextBox 18"/>
          <p:cNvSpPr txBox="1"/>
          <p:nvPr/>
        </p:nvSpPr>
        <p:spPr>
          <a:xfrm>
            <a:off x="2074739" y="3854105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4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2074739" y="4957670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5</a:t>
            </a:r>
          </a:p>
        </p:txBody>
      </p:sp>
      <p:sp>
        <p:nvSpPr>
          <p:cNvPr id="20" name="TextBox 20"/>
          <p:cNvSpPr txBox="1"/>
          <p:nvPr/>
        </p:nvSpPr>
        <p:spPr>
          <a:xfrm>
            <a:off x="6096000" y="5000849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00">
                <a:solidFill>
                  <a:srgbClr val="545454"/>
                </a:solidFill>
                <a:latin typeface="DM Sans"/>
                <a:cs typeface="Calibri"/>
              </a:rPr>
              <a:t>Healthcare Data Utilization</a:t>
            </a:r>
          </a:p>
        </p:txBody>
      </p:sp>
      <p:sp>
        <p:nvSpPr>
          <p:cNvPr id="21" name="TextBox 21"/>
          <p:cNvSpPr txBox="1"/>
          <p:nvPr/>
        </p:nvSpPr>
        <p:spPr>
          <a:xfrm>
            <a:off x="6096000" y="3903413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00">
                <a:solidFill>
                  <a:srgbClr val="545454"/>
                </a:solidFill>
                <a:latin typeface="DM Sans"/>
                <a:cs typeface="Calibri"/>
              </a:rPr>
              <a:t>Community Partnerships</a:t>
            </a:r>
          </a:p>
        </p:txBody>
      </p:sp>
      <p:pic>
        <p:nvPicPr>
          <p:cNvPr id="24" name="Picture 23" descr="A logo with a person in the middle&#10;&#10;Description automatically generated">
            <a:extLst>
              <a:ext uri="{FF2B5EF4-FFF2-40B4-BE49-F238E27FC236}">
                <a16:creationId xmlns:a16="http://schemas.microsoft.com/office/drawing/2014/main" id="{BB2CB55F-0790-7175-FF6E-777FF2A900CC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8023" y="5872540"/>
            <a:ext cx="1889972" cy="886710"/>
          </a:xfrm>
          <a:prstGeom prst="rect">
            <a:avLst/>
          </a:prstGeom>
        </p:spPr>
      </p:pic>
      <p:sp>
        <p:nvSpPr>
          <p:cNvPr id="26" name="Freeform 23">
            <a:extLst>
              <a:ext uri="{FF2B5EF4-FFF2-40B4-BE49-F238E27FC236}">
                <a16:creationId xmlns:a16="http://schemas.microsoft.com/office/drawing/2014/main" id="{AE550962-E289-5DDA-2AB0-8CBF44084B7E}"/>
              </a:ext>
            </a:extLst>
          </p:cNvPr>
          <p:cNvSpPr/>
          <p:nvPr/>
        </p:nvSpPr>
        <p:spPr>
          <a:xfrm flipV="1">
            <a:off x="11688331" y="2293443"/>
            <a:ext cx="1116149" cy="2426412"/>
          </a:xfrm>
          <a:custGeom>
            <a:avLst/>
            <a:gdLst/>
            <a:ahLst/>
            <a:cxnLst/>
            <a:rect l="l" t="t" r="r" b="b"/>
            <a:pathLst>
              <a:path w="1674224" h="3639618">
                <a:moveTo>
                  <a:pt x="0" y="3639618"/>
                </a:moveTo>
                <a:lnTo>
                  <a:pt x="1674224" y="3639618"/>
                </a:lnTo>
                <a:lnTo>
                  <a:pt x="1674224" y="0"/>
                </a:lnTo>
                <a:lnTo>
                  <a:pt x="0" y="0"/>
                </a:lnTo>
                <a:lnTo>
                  <a:pt x="0" y="3639618"/>
                </a:lnTo>
                <a:close/>
              </a:path>
            </a:pathLst>
          </a:custGeom>
          <a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9" name="Footer Placeholder 4">
            <a:extLst>
              <a:ext uri="{FF2B5EF4-FFF2-40B4-BE49-F238E27FC236}">
                <a16:creationId xmlns:a16="http://schemas.microsoft.com/office/drawing/2014/main" id="{F497B51E-B23E-81E6-6EEC-C84EF82FCD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546836" y="6487803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  <a:cs typeface="Calibri"/>
              </a:rPr>
              <a:t>12</a:t>
            </a:r>
          </a:p>
        </p:txBody>
      </p:sp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50A25492-F368-5A21-5DC6-845AD3571FD6}"/>
              </a:ext>
            </a:extLst>
          </p:cNvPr>
          <p:cNvSpPr txBox="1">
            <a:spLocks/>
          </p:cNvSpPr>
          <p:nvPr/>
        </p:nvSpPr>
        <p:spPr>
          <a:xfrm>
            <a:off x="4995333" y="65440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latin typeface="DM Sans"/>
                <a:cs typeface="Calibri"/>
              </a:rPr>
              <a:t>Illinois Perinatal Quality Collaborative</a:t>
            </a:r>
          </a:p>
        </p:txBody>
      </p:sp>
      <p:sp>
        <p:nvSpPr>
          <p:cNvPr id="22" name="Rounded Rectangle 6">
            <a:extLst>
              <a:ext uri="{FF2B5EF4-FFF2-40B4-BE49-F238E27FC236}">
                <a16:creationId xmlns:a16="http://schemas.microsoft.com/office/drawing/2014/main" id="{4AE19F30-7B6E-FA78-5463-A889A5532E66}"/>
              </a:ext>
            </a:extLst>
          </p:cNvPr>
          <p:cNvSpPr/>
          <p:nvPr/>
        </p:nvSpPr>
        <p:spPr>
          <a:xfrm>
            <a:off x="1606156" y="2474917"/>
            <a:ext cx="10059729" cy="1157652"/>
          </a:xfrm>
          <a:prstGeom prst="roundRect">
            <a:avLst/>
          </a:prstGeom>
          <a:noFill/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endParaRPr lang="en-US" sz="1500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418135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AA70D-3B97-AAF4-599A-5BEF539C23C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844675"/>
            <a:ext cx="2805113" cy="1347788"/>
          </a:xfrm>
        </p:spPr>
        <p:txBody>
          <a:bodyPr/>
          <a:lstStyle/>
          <a:p>
            <a:pPr algn="ctr"/>
            <a:r>
              <a:rPr lang="en-US" sz="4000">
                <a:latin typeface="DM Sans"/>
                <a:ea typeface="Lato Medium"/>
                <a:cs typeface="Lato Medium"/>
              </a:rPr>
              <a:t>Key Driver Diagram</a:t>
            </a:r>
            <a:endParaRPr lang="en-US" sz="4000">
              <a:latin typeface="DM San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148D1D-0EE2-FC94-7AFE-82D9E9F0BFF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042025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dirty="0" smtClean="0"/>
              <a:pPr/>
              <a:t>1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74FBFB-1843-9ED4-705E-449C6A1AC84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405563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</a:rPr>
              <a:t>Illinois Perinatal Quality Collaborativ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08BEB2-2B67-CEC7-F7A5-CA6255803980}"/>
              </a:ext>
            </a:extLst>
          </p:cNvPr>
          <p:cNvSpPr/>
          <p:nvPr/>
        </p:nvSpPr>
        <p:spPr>
          <a:xfrm>
            <a:off x="2857500" y="5654009"/>
            <a:ext cx="9144000" cy="8902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6">
            <a:extLst>
              <a:ext uri="{FF2B5EF4-FFF2-40B4-BE49-F238E27FC236}">
                <a16:creationId xmlns:a16="http://schemas.microsoft.com/office/drawing/2014/main" id="{EB9283BE-051A-06BD-CAA6-184C9D686C2F}"/>
              </a:ext>
            </a:extLst>
          </p:cNvPr>
          <p:cNvSpPr/>
          <p:nvPr/>
        </p:nvSpPr>
        <p:spPr>
          <a:xfrm>
            <a:off x="2804105" y="646630"/>
            <a:ext cx="1922145" cy="476250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r>
              <a:rPr lang="en-US" sz="1500">
                <a:latin typeface="Calibri"/>
                <a:cs typeface="Calibri"/>
              </a:rPr>
              <a:t>By December 2025: </a:t>
            </a:r>
            <a:endParaRPr lang="en-US" sz="1500">
              <a:latin typeface="Calibri"/>
              <a:ea typeface="Calibri"/>
              <a:cs typeface="Calibri"/>
            </a:endParaRPr>
          </a:p>
          <a:p>
            <a:endParaRPr lang="en-US" sz="1500">
              <a:latin typeface="Calibri"/>
              <a:ea typeface="Calibri"/>
              <a:cs typeface="Calibri"/>
            </a:endParaRPr>
          </a:p>
          <a:p>
            <a:r>
              <a:rPr lang="en-US" sz="1500">
                <a:latin typeface="Calibri"/>
                <a:cs typeface="Calibri"/>
              </a:rPr>
              <a:t>1. Greater than 70% of Illinois birthing and children’s hospitals will address disparities and promote neonatal equity by actively participating in the ESSI initiative.</a:t>
            </a:r>
            <a:endParaRPr lang="en-US" sz="1500">
              <a:latin typeface="Calibri"/>
              <a:ea typeface="Calibri"/>
              <a:cs typeface="Calibri"/>
            </a:endParaRPr>
          </a:p>
          <a:p>
            <a:pPr marL="342900" indent="-342900">
              <a:buAutoNum type="arabicParenR"/>
            </a:pPr>
            <a:endParaRPr lang="en-US" sz="1500">
              <a:latin typeface="Calibri"/>
              <a:ea typeface="Calibri"/>
              <a:cs typeface="Calibri"/>
            </a:endParaRPr>
          </a:p>
          <a:p>
            <a:r>
              <a:rPr lang="en-US" sz="1500">
                <a:latin typeface="Calibri"/>
                <a:cs typeface="Calibri"/>
              </a:rPr>
              <a:t>2. Greater than 80% of infants will be discharged from ILPQC hospitals with a completed ESSI bundle. </a:t>
            </a:r>
            <a:r>
              <a:rPr lang="en-US" sz="1500"/>
              <a:t> </a:t>
            </a:r>
            <a:endParaRPr lang="en-US" sz="1500">
              <a:ea typeface="Calibri"/>
              <a:cs typeface="Calibri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180EE81-4D08-B0DE-D216-FE8E15396519}"/>
              </a:ext>
            </a:extLst>
          </p:cNvPr>
          <p:cNvSpPr txBox="1"/>
          <p:nvPr/>
        </p:nvSpPr>
        <p:spPr>
          <a:xfrm>
            <a:off x="3247926" y="273053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Aims</a:t>
            </a:r>
            <a:endParaRPr lang="en-US" b="1">
              <a:solidFill>
                <a:schemeClr val="accent1"/>
              </a:solidFill>
              <a:cs typeface="Calibri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8A4033-3B68-E3F4-A3B5-A12C5ED59569}"/>
              </a:ext>
            </a:extLst>
          </p:cNvPr>
          <p:cNvSpPr txBox="1"/>
          <p:nvPr/>
        </p:nvSpPr>
        <p:spPr>
          <a:xfrm>
            <a:off x="4717812" y="276098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Primary Drivers</a:t>
            </a:r>
          </a:p>
        </p:txBody>
      </p:sp>
      <p:sp>
        <p:nvSpPr>
          <p:cNvPr id="18" name="Rounded Rectangle 22">
            <a:extLst>
              <a:ext uri="{FF2B5EF4-FFF2-40B4-BE49-F238E27FC236}">
                <a16:creationId xmlns:a16="http://schemas.microsoft.com/office/drawing/2014/main" id="{C3730C62-AFAC-21AA-3E7A-7AEAD34CE3BE}"/>
              </a:ext>
            </a:extLst>
          </p:cNvPr>
          <p:cNvSpPr/>
          <p:nvPr/>
        </p:nvSpPr>
        <p:spPr>
          <a:xfrm>
            <a:off x="4785239" y="800214"/>
            <a:ext cx="1661844" cy="69979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Healthcare Professional Commitment</a:t>
            </a:r>
          </a:p>
        </p:txBody>
      </p:sp>
      <p:sp>
        <p:nvSpPr>
          <p:cNvPr id="20" name="Rounded Rectangle 76">
            <a:extLst>
              <a:ext uri="{FF2B5EF4-FFF2-40B4-BE49-F238E27FC236}">
                <a16:creationId xmlns:a16="http://schemas.microsoft.com/office/drawing/2014/main" id="{B73A5A2B-E8B2-3A4D-6254-3A3DB1483B77}"/>
              </a:ext>
            </a:extLst>
          </p:cNvPr>
          <p:cNvSpPr/>
          <p:nvPr/>
        </p:nvSpPr>
        <p:spPr>
          <a:xfrm>
            <a:off x="4785172" y="1778930"/>
            <a:ext cx="16618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Inclusive Clinical Environment</a:t>
            </a:r>
          </a:p>
        </p:txBody>
      </p:sp>
      <p:sp>
        <p:nvSpPr>
          <p:cNvPr id="22" name="Rounded Rectangle 83">
            <a:extLst>
              <a:ext uri="{FF2B5EF4-FFF2-40B4-BE49-F238E27FC236}">
                <a16:creationId xmlns:a16="http://schemas.microsoft.com/office/drawing/2014/main" id="{DCD883C2-E6A5-6751-C6D1-3BC19BAEBB65}"/>
              </a:ext>
            </a:extLst>
          </p:cNvPr>
          <p:cNvSpPr/>
          <p:nvPr/>
        </p:nvSpPr>
        <p:spPr>
          <a:xfrm>
            <a:off x="4789674" y="2711059"/>
            <a:ext cx="1674544" cy="7929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Parent and Caregiver Empowerment</a:t>
            </a:r>
            <a:endParaRPr lang="en-US" sz="1600">
              <a:latin typeface="Calibri"/>
              <a:ea typeface="Calibri"/>
              <a:cs typeface="Calibri"/>
            </a:endParaRPr>
          </a:p>
        </p:txBody>
      </p:sp>
      <p:sp>
        <p:nvSpPr>
          <p:cNvPr id="24" name="Rounded Rectangle 84">
            <a:extLst>
              <a:ext uri="{FF2B5EF4-FFF2-40B4-BE49-F238E27FC236}">
                <a16:creationId xmlns:a16="http://schemas.microsoft.com/office/drawing/2014/main" id="{C9EDA1B8-B2B5-4AB7-BE28-FD2E702400CA}"/>
              </a:ext>
            </a:extLst>
          </p:cNvPr>
          <p:cNvSpPr/>
          <p:nvPr/>
        </p:nvSpPr>
        <p:spPr>
          <a:xfrm>
            <a:off x="4789268" y="3771300"/>
            <a:ext cx="1674544" cy="68146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Community </a:t>
            </a:r>
            <a:r>
              <a:rPr lang="en-US" sz="160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lang="en-US" sz="1600">
                <a:solidFill>
                  <a:schemeClr val="tx1"/>
                </a:solidFill>
                <a:latin typeface="Calibri"/>
                <a:cs typeface="Calibri"/>
              </a:rPr>
              <a:t>Partnerships</a:t>
            </a:r>
            <a:endParaRPr lang="en-US" sz="160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26" name="Rounded Rectangle 85">
            <a:extLst>
              <a:ext uri="{FF2B5EF4-FFF2-40B4-BE49-F238E27FC236}">
                <a16:creationId xmlns:a16="http://schemas.microsoft.com/office/drawing/2014/main" id="{78A60644-0FDA-E9A5-A8A9-AB39830E7D17}"/>
              </a:ext>
            </a:extLst>
          </p:cNvPr>
          <p:cNvSpPr/>
          <p:nvPr/>
        </p:nvSpPr>
        <p:spPr>
          <a:xfrm>
            <a:off x="4795447" y="4698068"/>
            <a:ext cx="16872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Healthcare Data Utilization</a:t>
            </a:r>
          </a:p>
        </p:txBody>
      </p:sp>
      <p:sp>
        <p:nvSpPr>
          <p:cNvPr id="28" name="Rounded Rectangle 87">
            <a:extLst>
              <a:ext uri="{FF2B5EF4-FFF2-40B4-BE49-F238E27FC236}">
                <a16:creationId xmlns:a16="http://schemas.microsoft.com/office/drawing/2014/main" id="{4DD97BA5-B3EA-9953-A828-AC4406353BE4}"/>
              </a:ext>
            </a:extLst>
          </p:cNvPr>
          <p:cNvSpPr/>
          <p:nvPr/>
        </p:nvSpPr>
        <p:spPr>
          <a:xfrm>
            <a:off x="6543427" y="858378"/>
            <a:ext cx="5529655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Equitable and Respectful Care Education and Imple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Safe Sleep Environment Education and Implementa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6297887-83BD-82E8-1C79-F8E9E0836828}"/>
              </a:ext>
            </a:extLst>
          </p:cNvPr>
          <p:cNvSpPr txBox="1"/>
          <p:nvPr/>
        </p:nvSpPr>
        <p:spPr>
          <a:xfrm>
            <a:off x="7972721" y="274352"/>
            <a:ext cx="266752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Secondary Drivers</a:t>
            </a:r>
          </a:p>
        </p:txBody>
      </p:sp>
      <p:sp>
        <p:nvSpPr>
          <p:cNvPr id="32" name="Rounded Rectangle 89">
            <a:extLst>
              <a:ext uri="{FF2B5EF4-FFF2-40B4-BE49-F238E27FC236}">
                <a16:creationId xmlns:a16="http://schemas.microsoft.com/office/drawing/2014/main" id="{8449D5CB-7C16-EDDA-3100-9116410AABE0}"/>
              </a:ext>
            </a:extLst>
          </p:cNvPr>
          <p:cNvSpPr/>
          <p:nvPr/>
        </p:nvSpPr>
        <p:spPr>
          <a:xfrm>
            <a:off x="6602417" y="1710625"/>
            <a:ext cx="5480760" cy="73908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ea typeface="+mn-lt"/>
                <a:cs typeface="+mn-lt"/>
              </a:rPr>
              <a:t>Equitable and Inclusive Unit Policies</a:t>
            </a:r>
            <a:endParaRPr lang="en-US">
              <a:ea typeface="+mn-lt"/>
              <a:cs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Organizational Leadership Commitment</a:t>
            </a: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Parent and Caregiver Experience Prioritization</a:t>
            </a:r>
            <a:endParaRPr lang="en-US" sz="1400" b="1" err="1">
              <a:latin typeface="Calibri"/>
              <a:ea typeface="Calibri"/>
              <a:cs typeface="Calibri"/>
            </a:endParaRPr>
          </a:p>
        </p:txBody>
      </p:sp>
      <p:sp>
        <p:nvSpPr>
          <p:cNvPr id="34" name="Rounded Rectangle 90">
            <a:extLst>
              <a:ext uri="{FF2B5EF4-FFF2-40B4-BE49-F238E27FC236}">
                <a16:creationId xmlns:a16="http://schemas.microsoft.com/office/drawing/2014/main" id="{CB726A25-CFF2-A633-BB75-01000B742058}"/>
              </a:ext>
            </a:extLst>
          </p:cNvPr>
          <p:cNvSpPr/>
          <p:nvPr/>
        </p:nvSpPr>
        <p:spPr>
          <a:xfrm>
            <a:off x="6611873" y="2704406"/>
            <a:ext cx="5619801" cy="79564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Respectful Parent and Caregiver Partnerships</a:t>
            </a:r>
            <a:endParaRPr lang="en-US" sz="1400">
              <a:solidFill>
                <a:srgbClr val="FF0000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Safe Sleep Awareness</a:t>
            </a:r>
            <a:endParaRPr lang="en-US" sz="1400"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chemeClr val="tx1"/>
                </a:solidFill>
                <a:highlight>
                  <a:srgbClr val="FFFF00"/>
                </a:highlight>
                <a:latin typeface="Calibri"/>
                <a:cs typeface="Calibri"/>
              </a:rPr>
              <a:t>Transition to Home, including </a:t>
            </a:r>
            <a:r>
              <a:rPr lang="en-US" sz="1400" b="1" err="1">
                <a:solidFill>
                  <a:schemeClr val="tx1"/>
                </a:solidFill>
                <a:highlight>
                  <a:srgbClr val="FFFF00"/>
                </a:highlight>
                <a:latin typeface="Calibri"/>
                <a:cs typeface="Calibri"/>
              </a:rPr>
              <a:t>SDoH</a:t>
            </a:r>
            <a:r>
              <a:rPr lang="en-US" sz="1400" b="1">
                <a:solidFill>
                  <a:schemeClr val="tx1"/>
                </a:solidFill>
                <a:highlight>
                  <a:srgbClr val="FFFF00"/>
                </a:highlight>
                <a:latin typeface="Calibri"/>
                <a:cs typeface="Calibri"/>
              </a:rPr>
              <a:t> </a:t>
            </a:r>
            <a:r>
              <a:rPr lang="en-US" sz="1400" b="1">
                <a:solidFill>
                  <a:schemeClr val="tx1"/>
                </a:solidFill>
                <a:highlight>
                  <a:srgbClr val="FFFF00"/>
                </a:highlight>
                <a:latin typeface="Calibri"/>
                <a:ea typeface="+mn-lt"/>
                <a:cs typeface="+mn-lt"/>
              </a:rPr>
              <a:t>Screening and Resource Linkage</a:t>
            </a:r>
            <a:endParaRPr lang="en-US" sz="1400" b="1">
              <a:solidFill>
                <a:schemeClr val="tx1"/>
              </a:solidFill>
              <a:highlight>
                <a:srgbClr val="FFFF00"/>
              </a:highlight>
              <a:latin typeface="Calibri"/>
              <a:ea typeface="Calibri"/>
              <a:cs typeface="Calibri"/>
            </a:endParaRPr>
          </a:p>
        </p:txBody>
      </p:sp>
      <p:sp>
        <p:nvSpPr>
          <p:cNvPr id="36" name="Rounded Rectangle 91">
            <a:extLst>
              <a:ext uri="{FF2B5EF4-FFF2-40B4-BE49-F238E27FC236}">
                <a16:creationId xmlns:a16="http://schemas.microsoft.com/office/drawing/2014/main" id="{C5BA209B-6AD7-115B-8383-D8382814ACEE}"/>
              </a:ext>
            </a:extLst>
          </p:cNvPr>
          <p:cNvSpPr/>
          <p:nvPr/>
        </p:nvSpPr>
        <p:spPr>
          <a:xfrm>
            <a:off x="6606479" y="3667823"/>
            <a:ext cx="5474238" cy="78537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Resource Mapp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Building Relationships with Community Organiz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Transfer of Care to Community Providers</a:t>
            </a:r>
          </a:p>
        </p:txBody>
      </p:sp>
      <p:sp>
        <p:nvSpPr>
          <p:cNvPr id="38" name="Rounded Rectangle 92">
            <a:extLst>
              <a:ext uri="{FF2B5EF4-FFF2-40B4-BE49-F238E27FC236}">
                <a16:creationId xmlns:a16="http://schemas.microsoft.com/office/drawing/2014/main" id="{DD496E2B-129D-7877-3471-A97FA7218225}"/>
              </a:ext>
            </a:extLst>
          </p:cNvPr>
          <p:cNvSpPr/>
          <p:nvPr/>
        </p:nvSpPr>
        <p:spPr>
          <a:xfrm>
            <a:off x="6606981" y="4625513"/>
            <a:ext cx="5474238" cy="73647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Collection of Accurate Race and Ethnicity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Dissemination of Stratified Data</a:t>
            </a:r>
            <a:endParaRPr lang="en-US" sz="1400"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Application of Data to Address Inequities</a:t>
            </a:r>
            <a:endParaRPr lang="en-US" sz="1400">
              <a:latin typeface="Calibri"/>
              <a:ea typeface="Calibri"/>
              <a:cs typeface="Calibri"/>
            </a:endParaRPr>
          </a:p>
        </p:txBody>
      </p:sp>
      <p:sp>
        <p:nvSpPr>
          <p:cNvPr id="40" name="Rounded Rectangle 93">
            <a:extLst>
              <a:ext uri="{FF2B5EF4-FFF2-40B4-BE49-F238E27FC236}">
                <a16:creationId xmlns:a16="http://schemas.microsoft.com/office/drawing/2014/main" id="{BDCA2154-1309-1ECE-3338-3B699831342F}"/>
              </a:ext>
            </a:extLst>
          </p:cNvPr>
          <p:cNvSpPr/>
          <p:nvPr/>
        </p:nvSpPr>
        <p:spPr>
          <a:xfrm>
            <a:off x="2978110" y="5811228"/>
            <a:ext cx="1058563" cy="595955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/>
              <a:t>ESSI Bundle</a:t>
            </a:r>
            <a:r>
              <a:rPr lang="en-US" sz="1400"/>
              <a:t>:</a:t>
            </a:r>
          </a:p>
        </p:txBody>
      </p:sp>
      <p:sp>
        <p:nvSpPr>
          <p:cNvPr id="42" name="Rounded Rectangle 96">
            <a:extLst>
              <a:ext uri="{FF2B5EF4-FFF2-40B4-BE49-F238E27FC236}">
                <a16:creationId xmlns:a16="http://schemas.microsoft.com/office/drawing/2014/main" id="{E9E3C6CF-96AA-68D8-0977-EC06066DAB15}"/>
              </a:ext>
            </a:extLst>
          </p:cNvPr>
          <p:cNvSpPr/>
          <p:nvPr/>
        </p:nvSpPr>
        <p:spPr>
          <a:xfrm>
            <a:off x="4190069" y="5500950"/>
            <a:ext cx="7906627" cy="121703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Awareness</a:t>
            </a:r>
            <a:r>
              <a:rPr lang="en-US" sz="1400">
                <a:latin typeface="Calibri"/>
                <a:cs typeface="Calibri"/>
              </a:rPr>
              <a:t>: Parents or caregivers report an understanding of a safe sleep environment, including navigating challenges to safe sleep at h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Readiness</a:t>
            </a:r>
            <a:r>
              <a:rPr lang="en-US" sz="1400">
                <a:latin typeface="Calibri"/>
                <a:cs typeface="Calibri"/>
              </a:rPr>
              <a:t>: </a:t>
            </a:r>
            <a:r>
              <a:rPr lang="en-US" sz="1400">
                <a:solidFill>
                  <a:schemeClr val="tx1"/>
                </a:solidFill>
                <a:latin typeface="Calibri"/>
                <a:ea typeface="+mn-lt"/>
                <a:cs typeface="+mn-lt"/>
              </a:rPr>
              <a:t>Family is prepared for a transition to home, including </a:t>
            </a:r>
            <a:r>
              <a:rPr lang="en-US" sz="1400" err="1">
                <a:solidFill>
                  <a:schemeClr val="tx1"/>
                </a:solidFill>
                <a:latin typeface="Calibri"/>
                <a:ea typeface="+mn-lt"/>
                <a:cs typeface="+mn-lt"/>
              </a:rPr>
              <a:t>SDoH</a:t>
            </a:r>
            <a:r>
              <a:rPr lang="en-US" sz="1400">
                <a:solidFill>
                  <a:schemeClr val="tx1"/>
                </a:solidFill>
                <a:latin typeface="Calibri"/>
                <a:ea typeface="+mn-lt"/>
                <a:cs typeface="+mn-lt"/>
              </a:rPr>
              <a:t> screening and resource linkage</a:t>
            </a:r>
            <a:endParaRPr lang="en-US" sz="140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Transfer of Care</a:t>
            </a:r>
            <a:r>
              <a:rPr lang="en-US" sz="1400">
                <a:latin typeface="Calibri"/>
                <a:cs typeface="Calibri"/>
              </a:rPr>
              <a:t>: ESSI Newborn Care Plan (Awareness &amp; Readiness) documented in the discharge 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E336F7CB-6EF1-3A82-CF3D-F881FC29F4CD}"/>
              </a:ext>
            </a:extLst>
          </p:cNvPr>
          <p:cNvSpPr/>
          <p:nvPr/>
        </p:nvSpPr>
        <p:spPr>
          <a:xfrm>
            <a:off x="4747641" y="2632389"/>
            <a:ext cx="7442547" cy="960328"/>
          </a:xfrm>
          <a:prstGeom prst="round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2DF8592-06E8-9B71-04C3-A15FB7821C4D}"/>
              </a:ext>
            </a:extLst>
          </p:cNvPr>
          <p:cNvSpPr/>
          <p:nvPr/>
        </p:nvSpPr>
        <p:spPr>
          <a:xfrm>
            <a:off x="4397612" y="2320985"/>
            <a:ext cx="636739" cy="61586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200">
                <a:cs typeface="Calibri"/>
              </a:rPr>
              <a:t>3</a:t>
            </a:r>
            <a:endParaRPr lang="en-US" sz="3200"/>
          </a:p>
        </p:txBody>
      </p:sp>
    </p:spTree>
    <p:extLst>
      <p:ext uri="{BB962C8B-B14F-4D97-AF65-F5344CB8AC3E}">
        <p14:creationId xmlns:p14="http://schemas.microsoft.com/office/powerpoint/2010/main" val="12100221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9791C4-9B3C-9538-F299-A006E1E9E4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942" y="704456"/>
            <a:ext cx="9365380" cy="2014679"/>
          </a:xfrm>
        </p:spPr>
        <p:txBody>
          <a:bodyPr/>
          <a:lstStyle/>
          <a:p>
            <a:r>
              <a:rPr lang="en-US">
                <a:latin typeface="Aptos"/>
                <a:ea typeface="Lato Medium"/>
                <a:cs typeface="Prompt"/>
              </a:rPr>
              <a:t>ESSI Data Review</a:t>
            </a:r>
          </a:p>
        </p:txBody>
      </p:sp>
    </p:spTree>
    <p:extLst>
      <p:ext uri="{BB962C8B-B14F-4D97-AF65-F5344CB8AC3E}">
        <p14:creationId xmlns:p14="http://schemas.microsoft.com/office/powerpoint/2010/main" val="17831843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F80CA6E-58E5-ADD3-5240-C87D40CAE9DB}"/>
              </a:ext>
            </a:extLst>
          </p:cNvPr>
          <p:cNvSpPr/>
          <p:nvPr/>
        </p:nvSpPr>
        <p:spPr>
          <a:xfrm>
            <a:off x="7021285" y="-40822"/>
            <a:ext cx="5211535" cy="1714500"/>
          </a:xfrm>
          <a:prstGeom prst="rect">
            <a:avLst/>
          </a:prstGeom>
          <a:solidFill>
            <a:srgbClr val="DEF0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reeform 2"/>
          <p:cNvSpPr/>
          <p:nvPr/>
        </p:nvSpPr>
        <p:spPr>
          <a:xfrm>
            <a:off x="247500" y="244000"/>
            <a:ext cx="11697164" cy="6370000"/>
          </a:xfrm>
          <a:custGeom>
            <a:avLst/>
            <a:gdLst/>
            <a:ahLst/>
            <a:cxnLst/>
            <a:rect l="l" t="t" r="r" b="b"/>
            <a:pathLst>
              <a:path w="17545746" h="9555000">
                <a:moveTo>
                  <a:pt x="0" y="0"/>
                </a:moveTo>
                <a:lnTo>
                  <a:pt x="17545746" y="0"/>
                </a:lnTo>
                <a:lnTo>
                  <a:pt x="17545746" y="9555000"/>
                </a:lnTo>
                <a:lnTo>
                  <a:pt x="0" y="95550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3" name="TextBox 3"/>
          <p:cNvSpPr txBox="1"/>
          <p:nvPr/>
        </p:nvSpPr>
        <p:spPr>
          <a:xfrm>
            <a:off x="2219760" y="507528"/>
            <a:ext cx="7873313" cy="3483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800"/>
              </a:lnSpc>
            </a:pPr>
            <a:r>
              <a:rPr lang="en-US" sz="2333">
                <a:solidFill>
                  <a:srgbClr val="813158"/>
                </a:solidFill>
                <a:latin typeface="Etna Sans Serif"/>
                <a:ea typeface="Etna Sans Serif"/>
                <a:cs typeface="Etna Sans Serif"/>
                <a:sym typeface="Etna Sans Serif"/>
              </a:rPr>
              <a:t>Standardized Provider and Hospital Staff Implicit Bias Education</a:t>
            </a:r>
          </a:p>
        </p:txBody>
      </p:sp>
      <p:sp>
        <p:nvSpPr>
          <p:cNvPr id="4" name="TextBox 4"/>
          <p:cNvSpPr txBox="1"/>
          <p:nvPr/>
        </p:nvSpPr>
        <p:spPr>
          <a:xfrm>
            <a:off x="1635183" y="5985350"/>
            <a:ext cx="10150100" cy="76174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999"/>
              </a:lnSpc>
            </a:pPr>
            <a:r>
              <a:rPr lang="en-US" sz="1666">
                <a:solidFill>
                  <a:srgbClr val="813158"/>
                </a:solidFill>
                <a:latin typeface="Etna Sans Serif"/>
                <a:ea typeface="Etna Sans Serif"/>
                <a:cs typeface="Etna Sans Serif"/>
                <a:sym typeface="Etna Sans Serif"/>
              </a:rPr>
              <a:t>Hospital has standardized provider and hospital staff education about listening to parents and caregivers, providing respectful care and building trust, addressing implicit bias and engaging in anti-racism.</a:t>
            </a:r>
          </a:p>
          <a:p>
            <a:pPr algn="ctr">
              <a:lnSpc>
                <a:spcPts val="1999"/>
              </a:lnSpc>
            </a:pPr>
            <a:endParaRPr lang="en-US" sz="1666">
              <a:solidFill>
                <a:srgbClr val="813158"/>
              </a:solidFill>
              <a:latin typeface="Etna Sans Serif"/>
              <a:ea typeface="Etna Sans Serif"/>
              <a:cs typeface="Etna Sans Serif"/>
              <a:sym typeface="Etna Sans Serif"/>
            </a:endParaRPr>
          </a:p>
        </p:txBody>
      </p:sp>
      <p:sp>
        <p:nvSpPr>
          <p:cNvPr id="6" name="Freeform 6"/>
          <p:cNvSpPr/>
          <p:nvPr/>
        </p:nvSpPr>
        <p:spPr>
          <a:xfrm>
            <a:off x="247500" y="476479"/>
            <a:ext cx="1245976" cy="625757"/>
          </a:xfrm>
          <a:custGeom>
            <a:avLst/>
            <a:gdLst/>
            <a:ahLst/>
            <a:cxnLst/>
            <a:rect l="l" t="t" r="r" b="b"/>
            <a:pathLst>
              <a:path w="1868964" h="938635">
                <a:moveTo>
                  <a:pt x="0" y="0"/>
                </a:moveTo>
                <a:lnTo>
                  <a:pt x="1868964" y="0"/>
                </a:lnTo>
                <a:lnTo>
                  <a:pt x="1868964" y="938635"/>
                </a:lnTo>
                <a:lnTo>
                  <a:pt x="0" y="938635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pic>
        <p:nvPicPr>
          <p:cNvPr id="7" name="Picture 6" descr="A graph of green and yellow bars&#10;&#10;Description automatically generated">
            <a:extLst>
              <a:ext uri="{FF2B5EF4-FFF2-40B4-BE49-F238E27FC236}">
                <a16:creationId xmlns:a16="http://schemas.microsoft.com/office/drawing/2014/main" id="{FAD86511-3FCA-9287-4265-7843FD5EA2E4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8483"/>
            <a:ext cx="12192000" cy="6641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0105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ptos"/>
                <a:ea typeface="Lato Medium"/>
                <a:cs typeface="Lato Medium"/>
              </a:rPr>
              <a:t>ATTENDANCE POLL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ptos"/>
                <a:ea typeface="Lato"/>
                <a:cs typeface="Lato"/>
              </a:rPr>
              <a:t>Please fill out the poll so that we can track hospital team attendance at ESSI webinars.</a:t>
            </a:r>
          </a:p>
        </p:txBody>
      </p:sp>
    </p:spTree>
    <p:extLst>
      <p:ext uri="{BB962C8B-B14F-4D97-AF65-F5344CB8AC3E}">
        <p14:creationId xmlns:p14="http://schemas.microsoft.com/office/powerpoint/2010/main" val="23732683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54338FA-6427-6838-50AB-4268E42471C1}"/>
              </a:ext>
            </a:extLst>
          </p:cNvPr>
          <p:cNvSpPr/>
          <p:nvPr/>
        </p:nvSpPr>
        <p:spPr>
          <a:xfrm>
            <a:off x="7021285" y="-40822"/>
            <a:ext cx="5211535" cy="1714500"/>
          </a:xfrm>
          <a:prstGeom prst="rect">
            <a:avLst/>
          </a:prstGeom>
          <a:solidFill>
            <a:srgbClr val="DEF0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reeform 2"/>
          <p:cNvSpPr/>
          <p:nvPr/>
        </p:nvSpPr>
        <p:spPr>
          <a:xfrm>
            <a:off x="247500" y="244000"/>
            <a:ext cx="11697164" cy="6370000"/>
          </a:xfrm>
          <a:custGeom>
            <a:avLst/>
            <a:gdLst/>
            <a:ahLst/>
            <a:cxnLst/>
            <a:rect l="l" t="t" r="r" b="b"/>
            <a:pathLst>
              <a:path w="17545746" h="9555000">
                <a:moveTo>
                  <a:pt x="0" y="0"/>
                </a:moveTo>
                <a:lnTo>
                  <a:pt x="17545746" y="0"/>
                </a:lnTo>
                <a:lnTo>
                  <a:pt x="17545746" y="9555000"/>
                </a:lnTo>
                <a:lnTo>
                  <a:pt x="0" y="95550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3" name="TextBox 3"/>
          <p:cNvSpPr txBox="1"/>
          <p:nvPr/>
        </p:nvSpPr>
        <p:spPr>
          <a:xfrm>
            <a:off x="2137463" y="685800"/>
            <a:ext cx="8506972" cy="3556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800"/>
              </a:lnSpc>
            </a:pPr>
            <a:r>
              <a:rPr lang="en-US" sz="2333">
                <a:solidFill>
                  <a:srgbClr val="813158"/>
                </a:solidFill>
                <a:latin typeface="Etna Sans Serif"/>
                <a:ea typeface="Etna Sans Serif"/>
                <a:cs typeface="Etna Sans Serif"/>
                <a:sym typeface="Etna Sans Serif"/>
              </a:rPr>
              <a:t>Standardized Practice of Promoting a Safe Sleep Environment​</a:t>
            </a:r>
          </a:p>
        </p:txBody>
      </p:sp>
      <p:sp>
        <p:nvSpPr>
          <p:cNvPr id="4" name="TextBox 4"/>
          <p:cNvSpPr txBox="1"/>
          <p:nvPr/>
        </p:nvSpPr>
        <p:spPr>
          <a:xfrm>
            <a:off x="1635183" y="5985350"/>
            <a:ext cx="10150100" cy="76174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999"/>
              </a:lnSpc>
            </a:pPr>
            <a:r>
              <a:rPr lang="en-US" sz="1666">
                <a:solidFill>
                  <a:srgbClr val="813158"/>
                </a:solidFill>
                <a:latin typeface="Etna Sans Serif"/>
                <a:ea typeface="Etna Sans Serif"/>
                <a:cs typeface="Etna Sans Serif"/>
                <a:sym typeface="Etna Sans Serif"/>
              </a:rPr>
              <a:t>Hospital has a standardized practice of promoting a safe sleep environment in the hospital setting in accordance with the 2022 AAP Recommendations.  </a:t>
            </a:r>
          </a:p>
          <a:p>
            <a:pPr algn="ctr">
              <a:lnSpc>
                <a:spcPts val="1999"/>
              </a:lnSpc>
            </a:pPr>
            <a:endParaRPr lang="en-US" sz="1666">
              <a:solidFill>
                <a:srgbClr val="813158"/>
              </a:solidFill>
              <a:latin typeface="Etna Sans Serif"/>
              <a:ea typeface="Etna Sans Serif"/>
              <a:cs typeface="Etna Sans Serif"/>
              <a:sym typeface="Etna Sans Serif"/>
            </a:endParaRPr>
          </a:p>
        </p:txBody>
      </p:sp>
      <p:sp>
        <p:nvSpPr>
          <p:cNvPr id="6" name="Freeform 6"/>
          <p:cNvSpPr/>
          <p:nvPr/>
        </p:nvSpPr>
        <p:spPr>
          <a:xfrm>
            <a:off x="247500" y="476479"/>
            <a:ext cx="1245976" cy="625757"/>
          </a:xfrm>
          <a:custGeom>
            <a:avLst/>
            <a:gdLst/>
            <a:ahLst/>
            <a:cxnLst/>
            <a:rect l="l" t="t" r="r" b="b"/>
            <a:pathLst>
              <a:path w="1868964" h="938635">
                <a:moveTo>
                  <a:pt x="0" y="0"/>
                </a:moveTo>
                <a:lnTo>
                  <a:pt x="1868964" y="0"/>
                </a:lnTo>
                <a:lnTo>
                  <a:pt x="1868964" y="938635"/>
                </a:lnTo>
                <a:lnTo>
                  <a:pt x="0" y="938635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pic>
        <p:nvPicPr>
          <p:cNvPr id="7" name="Picture 6" descr="A green and yellow bars&#10;&#10;Description automatically generated">
            <a:extLst>
              <a:ext uri="{FF2B5EF4-FFF2-40B4-BE49-F238E27FC236}">
                <a16:creationId xmlns:a16="http://schemas.microsoft.com/office/drawing/2014/main" id="{47CF4110-9016-FFBB-06CC-C21D34820E06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05" y="164163"/>
            <a:ext cx="12192000" cy="6529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7305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42456D9-72E4-3B0F-2EBB-50A3F891E37E}"/>
              </a:ext>
            </a:extLst>
          </p:cNvPr>
          <p:cNvSpPr/>
          <p:nvPr/>
        </p:nvSpPr>
        <p:spPr>
          <a:xfrm>
            <a:off x="7021285" y="-40822"/>
            <a:ext cx="5211535" cy="1714500"/>
          </a:xfrm>
          <a:prstGeom prst="rect">
            <a:avLst/>
          </a:prstGeom>
          <a:solidFill>
            <a:srgbClr val="DEF0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reeform 2"/>
          <p:cNvSpPr/>
          <p:nvPr/>
        </p:nvSpPr>
        <p:spPr>
          <a:xfrm>
            <a:off x="247500" y="244000"/>
            <a:ext cx="11697164" cy="6370000"/>
          </a:xfrm>
          <a:custGeom>
            <a:avLst/>
            <a:gdLst/>
            <a:ahLst/>
            <a:cxnLst/>
            <a:rect l="l" t="t" r="r" b="b"/>
            <a:pathLst>
              <a:path w="17545746" h="9555000">
                <a:moveTo>
                  <a:pt x="0" y="0"/>
                </a:moveTo>
                <a:lnTo>
                  <a:pt x="17545746" y="0"/>
                </a:lnTo>
                <a:lnTo>
                  <a:pt x="17545746" y="9555000"/>
                </a:lnTo>
                <a:lnTo>
                  <a:pt x="0" y="95550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3" name="TextBox 3"/>
          <p:cNvSpPr txBox="1"/>
          <p:nvPr/>
        </p:nvSpPr>
        <p:spPr>
          <a:xfrm>
            <a:off x="1842596" y="685800"/>
            <a:ext cx="8506972" cy="3556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800"/>
              </a:lnSpc>
            </a:pPr>
            <a:r>
              <a:rPr lang="en-US" sz="2333">
                <a:solidFill>
                  <a:srgbClr val="813158"/>
                </a:solidFill>
                <a:latin typeface="Etna Sans Serif"/>
                <a:ea typeface="Etna Sans Serif"/>
                <a:cs typeface="Etna Sans Serif"/>
                <a:sym typeface="Etna Sans Serif"/>
              </a:rPr>
              <a:t>Standardized Safe Sleep Education​</a:t>
            </a:r>
          </a:p>
        </p:txBody>
      </p:sp>
      <p:sp>
        <p:nvSpPr>
          <p:cNvPr id="4" name="TextBox 4"/>
          <p:cNvSpPr txBox="1"/>
          <p:nvPr/>
        </p:nvSpPr>
        <p:spPr>
          <a:xfrm>
            <a:off x="247501" y="5985350"/>
            <a:ext cx="11537783" cy="50526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999"/>
              </a:lnSpc>
            </a:pPr>
            <a:r>
              <a:rPr lang="en-US" sz="1666">
                <a:solidFill>
                  <a:srgbClr val="813158"/>
                </a:solidFill>
                <a:latin typeface="Etna Sans Serif"/>
                <a:ea typeface="Etna Sans Serif"/>
                <a:cs typeface="Etna Sans Serif"/>
                <a:sym typeface="Etna Sans Serif"/>
              </a:rPr>
              <a:t>Hospital has standardized provider and hospital staff education about the importance of a safe sleep environment and engaging in meaningful, culturally appropriate, respectful, nonjudgmental conversations with parents or caregivers about safe sleep. </a:t>
            </a:r>
          </a:p>
        </p:txBody>
      </p:sp>
      <p:sp>
        <p:nvSpPr>
          <p:cNvPr id="6" name="Freeform 6"/>
          <p:cNvSpPr/>
          <p:nvPr/>
        </p:nvSpPr>
        <p:spPr>
          <a:xfrm>
            <a:off x="247500" y="476479"/>
            <a:ext cx="1245976" cy="625757"/>
          </a:xfrm>
          <a:custGeom>
            <a:avLst/>
            <a:gdLst/>
            <a:ahLst/>
            <a:cxnLst/>
            <a:rect l="l" t="t" r="r" b="b"/>
            <a:pathLst>
              <a:path w="1868964" h="938635">
                <a:moveTo>
                  <a:pt x="0" y="0"/>
                </a:moveTo>
                <a:lnTo>
                  <a:pt x="1868964" y="0"/>
                </a:lnTo>
                <a:lnTo>
                  <a:pt x="1868964" y="938635"/>
                </a:lnTo>
                <a:lnTo>
                  <a:pt x="0" y="938635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19F7E18-4B62-E99D-70EF-A6943AD09725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60071"/>
            <a:ext cx="12192000" cy="6537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6020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CDDA124-F58E-BCC9-544B-BA396B58F746}"/>
              </a:ext>
            </a:extLst>
          </p:cNvPr>
          <p:cNvSpPr/>
          <p:nvPr/>
        </p:nvSpPr>
        <p:spPr>
          <a:xfrm>
            <a:off x="7021285" y="-40822"/>
            <a:ext cx="5211535" cy="1714500"/>
          </a:xfrm>
          <a:prstGeom prst="rect">
            <a:avLst/>
          </a:prstGeom>
          <a:solidFill>
            <a:srgbClr val="DEF0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reeform 2"/>
          <p:cNvSpPr/>
          <p:nvPr/>
        </p:nvSpPr>
        <p:spPr>
          <a:xfrm>
            <a:off x="247500" y="244000"/>
            <a:ext cx="11697164" cy="6370000"/>
          </a:xfrm>
          <a:custGeom>
            <a:avLst/>
            <a:gdLst/>
            <a:ahLst/>
            <a:cxnLst/>
            <a:rect l="l" t="t" r="r" b="b"/>
            <a:pathLst>
              <a:path w="17545746" h="9555000">
                <a:moveTo>
                  <a:pt x="0" y="0"/>
                </a:moveTo>
                <a:lnTo>
                  <a:pt x="17545746" y="0"/>
                </a:lnTo>
                <a:lnTo>
                  <a:pt x="17545746" y="9555000"/>
                </a:lnTo>
                <a:lnTo>
                  <a:pt x="0" y="95550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3" name="TextBox 3"/>
          <p:cNvSpPr txBox="1"/>
          <p:nvPr/>
        </p:nvSpPr>
        <p:spPr>
          <a:xfrm>
            <a:off x="1842596" y="685800"/>
            <a:ext cx="8506972" cy="3556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800"/>
              </a:lnSpc>
            </a:pPr>
            <a:r>
              <a:rPr lang="en-US" sz="2333">
                <a:solidFill>
                  <a:srgbClr val="813158"/>
                </a:solidFill>
                <a:latin typeface="Etna Sans Serif"/>
                <a:ea typeface="Etna Sans Serif"/>
                <a:cs typeface="Etna Sans Serif"/>
                <a:sym typeface="Etna Sans Serif"/>
              </a:rPr>
              <a:t>Safe Sleep Policy</a:t>
            </a:r>
          </a:p>
        </p:txBody>
      </p:sp>
      <p:sp>
        <p:nvSpPr>
          <p:cNvPr id="4" name="TextBox 4"/>
          <p:cNvSpPr txBox="1"/>
          <p:nvPr/>
        </p:nvSpPr>
        <p:spPr>
          <a:xfrm>
            <a:off x="247501" y="6172200"/>
            <a:ext cx="11537783" cy="2476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999"/>
              </a:lnSpc>
            </a:pPr>
            <a:r>
              <a:rPr lang="en-US" sz="1666">
                <a:solidFill>
                  <a:srgbClr val="813158"/>
                </a:solidFill>
                <a:latin typeface="Etna Sans Serif"/>
                <a:ea typeface="Etna Sans Serif"/>
                <a:cs typeface="Etna Sans Serif"/>
                <a:sym typeface="Etna Sans Serif"/>
              </a:rPr>
              <a:t>Hospital has a policy in place for safe sleep practices reflective of the 2022 AAP Recommendations.</a:t>
            </a:r>
          </a:p>
        </p:txBody>
      </p:sp>
      <p:sp>
        <p:nvSpPr>
          <p:cNvPr id="6" name="Freeform 6"/>
          <p:cNvSpPr/>
          <p:nvPr/>
        </p:nvSpPr>
        <p:spPr>
          <a:xfrm>
            <a:off x="247500" y="476479"/>
            <a:ext cx="1245976" cy="625757"/>
          </a:xfrm>
          <a:custGeom>
            <a:avLst/>
            <a:gdLst/>
            <a:ahLst/>
            <a:cxnLst/>
            <a:rect l="l" t="t" r="r" b="b"/>
            <a:pathLst>
              <a:path w="1868964" h="938635">
                <a:moveTo>
                  <a:pt x="0" y="0"/>
                </a:moveTo>
                <a:lnTo>
                  <a:pt x="1868964" y="0"/>
                </a:lnTo>
                <a:lnTo>
                  <a:pt x="1868964" y="938635"/>
                </a:lnTo>
                <a:lnTo>
                  <a:pt x="0" y="938635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pic>
        <p:nvPicPr>
          <p:cNvPr id="7" name="Picture 6" descr="A green and yellow bars&#10;&#10;Description automatically generated">
            <a:extLst>
              <a:ext uri="{FF2B5EF4-FFF2-40B4-BE49-F238E27FC236}">
                <a16:creationId xmlns:a16="http://schemas.microsoft.com/office/drawing/2014/main" id="{81A9111F-CFB3-8D44-860D-32FF07F99A21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60071"/>
            <a:ext cx="12192000" cy="6537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363199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9791C4-9B3C-9538-F299-A006E1E9E4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942" y="1221777"/>
            <a:ext cx="9365380" cy="2014679"/>
          </a:xfrm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SDOH Screening and Integration into the EM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962265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37"/>
          <p:cNvSpPr txBox="1">
            <a:spLocks noGrp="1"/>
          </p:cNvSpPr>
          <p:nvPr>
            <p:ph type="subTitle" idx="1"/>
          </p:nvPr>
        </p:nvSpPr>
        <p:spPr>
          <a:xfrm>
            <a:off x="416256" y="1358172"/>
            <a:ext cx="8674193" cy="484956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lnSpc>
                <a:spcPct val="150000"/>
              </a:lnSpc>
              <a:buFont typeface="Aptos"/>
              <a:buChar char="•"/>
            </a:pPr>
            <a:r>
              <a:rPr lang="en-US" sz="2200" b="1">
                <a:latin typeface="Barlow Medium"/>
              </a:rPr>
              <a:t>Introduction to SDOH</a:t>
            </a:r>
          </a:p>
          <a:p>
            <a:pPr marL="285750" indent="-285750">
              <a:lnSpc>
                <a:spcPct val="150000"/>
              </a:lnSpc>
              <a:buFont typeface="Aptos"/>
              <a:buChar char="•"/>
            </a:pPr>
            <a:r>
              <a:rPr lang="en-US" sz="2200" b="1">
                <a:latin typeface="Barlow Medium"/>
              </a:rPr>
              <a:t>Social Screening Tool Selection</a:t>
            </a:r>
          </a:p>
          <a:p>
            <a:pPr marL="285750" indent="-285750">
              <a:lnSpc>
                <a:spcPct val="150000"/>
              </a:lnSpc>
              <a:buFont typeface="Aptos"/>
              <a:buChar char="•"/>
            </a:pPr>
            <a:r>
              <a:rPr lang="en-US" sz="2200" b="1">
                <a:latin typeface="Barlow Medium"/>
              </a:rPr>
              <a:t>Integration of Social Screening and Referrals into Electronic Health Record</a:t>
            </a:r>
          </a:p>
          <a:p>
            <a:pPr marL="285750" indent="-285750">
              <a:lnSpc>
                <a:spcPct val="150000"/>
              </a:lnSpc>
              <a:buFont typeface="Aptos"/>
              <a:buChar char="•"/>
            </a:pPr>
            <a:r>
              <a:rPr lang="en-US" sz="2200">
                <a:latin typeface="Barlow Medium"/>
              </a:rPr>
              <a:t>Standardizing Social Screening and Referrals </a:t>
            </a:r>
          </a:p>
          <a:p>
            <a:pPr marL="285750" indent="-285750">
              <a:lnSpc>
                <a:spcPct val="150000"/>
              </a:lnSpc>
              <a:buFont typeface="Aptos"/>
              <a:buChar char="•"/>
            </a:pPr>
            <a:r>
              <a:rPr lang="en-US" sz="2200">
                <a:latin typeface="Barlow Medium"/>
              </a:rPr>
              <a:t>Building a Resource Guide or Referral System </a:t>
            </a:r>
          </a:p>
          <a:p>
            <a:pPr marL="285750" indent="-285750">
              <a:lnSpc>
                <a:spcPct val="150000"/>
              </a:lnSpc>
              <a:buFont typeface="Aptos"/>
              <a:buChar char="•"/>
            </a:pPr>
            <a:r>
              <a:rPr lang="en-US" sz="2200">
                <a:latin typeface="Barlow Medium"/>
              </a:rPr>
              <a:t>Implementation of Social Screening and Referral to Resources </a:t>
            </a:r>
          </a:p>
          <a:p>
            <a:pPr marL="285750" indent="-285750">
              <a:lnSpc>
                <a:spcPct val="150000"/>
              </a:lnSpc>
              <a:buFont typeface="Aptos"/>
              <a:buChar char="•"/>
            </a:pPr>
            <a:r>
              <a:rPr lang="en-US" sz="2200">
                <a:latin typeface="Barlow Medium"/>
              </a:rPr>
              <a:t>Optimize Implementation of Social Screening and Referral to Resources</a:t>
            </a:r>
          </a:p>
        </p:txBody>
      </p:sp>
      <p:sp>
        <p:nvSpPr>
          <p:cNvPr id="332" name="Google Shape;332;p37"/>
          <p:cNvSpPr txBox="1">
            <a:spLocks noGrp="1"/>
          </p:cNvSpPr>
          <p:nvPr>
            <p:ph type="title"/>
          </p:nvPr>
        </p:nvSpPr>
        <p:spPr>
          <a:xfrm>
            <a:off x="414716" y="433376"/>
            <a:ext cx="10843500" cy="7524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" sz="4000">
                <a:latin typeface="Bebas Neue"/>
              </a:rPr>
              <a:t>OBJECTIVES FOR SDOH SCREENING AND REFERRAL – THE BIG PICTURE</a:t>
            </a:r>
            <a:endParaRPr lang="en-US" sz="40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573EA3A-F04E-0A92-5CEE-E4D62516C7F3}"/>
              </a:ext>
            </a:extLst>
          </p:cNvPr>
          <p:cNvSpPr txBox="1"/>
          <p:nvPr/>
        </p:nvSpPr>
        <p:spPr>
          <a:xfrm>
            <a:off x="10075754" y="3998841"/>
            <a:ext cx="1718848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i="1">
                <a:latin typeface="Barlow Medium"/>
                <a:cs typeface="Arial"/>
              </a:rPr>
              <a:t>November and December</a:t>
            </a:r>
            <a:endParaRPr lang="en-US" b="1" i="1">
              <a:latin typeface="Barlow Medium"/>
            </a:endParaRP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3B483AC9-2D98-6C06-C97F-97446F982526}"/>
              </a:ext>
            </a:extLst>
          </p:cNvPr>
          <p:cNvCxnSpPr/>
          <p:nvPr/>
        </p:nvCxnSpPr>
        <p:spPr>
          <a:xfrm flipH="1" flipV="1">
            <a:off x="7822639" y="3867232"/>
            <a:ext cx="2227546" cy="505216"/>
          </a:xfrm>
          <a:prstGeom prst="straightConnector1">
            <a:avLst/>
          </a:prstGeom>
          <a:ln w="571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82A0C656-1DD3-CCCB-58B2-31147A0D896A}"/>
              </a:ext>
            </a:extLst>
          </p:cNvPr>
          <p:cNvCxnSpPr>
            <a:cxnSpLocks/>
          </p:cNvCxnSpPr>
          <p:nvPr/>
        </p:nvCxnSpPr>
        <p:spPr>
          <a:xfrm flipH="1" flipV="1">
            <a:off x="8482180" y="4365410"/>
            <a:ext cx="1590806" cy="14613"/>
          </a:xfrm>
          <a:prstGeom prst="straightConnector1">
            <a:avLst/>
          </a:prstGeom>
          <a:ln w="571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B74033F2-6D89-67BE-59BE-BBC69EB4C6FB}"/>
              </a:ext>
            </a:extLst>
          </p:cNvPr>
          <p:cNvCxnSpPr>
            <a:cxnSpLocks/>
          </p:cNvCxnSpPr>
          <p:nvPr/>
        </p:nvCxnSpPr>
        <p:spPr>
          <a:xfrm flipH="1">
            <a:off x="8312091" y="4386827"/>
            <a:ext cx="1686056" cy="522868"/>
          </a:xfrm>
          <a:prstGeom prst="straightConnector1">
            <a:avLst/>
          </a:prstGeom>
          <a:ln w="571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947272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37"/>
          <p:cNvSpPr txBox="1">
            <a:spLocks noGrp="1"/>
          </p:cNvSpPr>
          <p:nvPr>
            <p:ph type="subTitle" idx="1"/>
          </p:nvPr>
        </p:nvSpPr>
        <p:spPr>
          <a:xfrm>
            <a:off x="416256" y="1473451"/>
            <a:ext cx="5811115" cy="4010258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spcAft>
                <a:spcPts val="2133"/>
              </a:spcAft>
            </a:pPr>
            <a:r>
              <a:rPr lang="en" sz="1600">
                <a:solidFill>
                  <a:srgbClr val="0D1941"/>
                </a:solidFill>
                <a:latin typeface="Barlow Medium"/>
              </a:rPr>
              <a:t>Social determinants of health (SDOH) are the conditions in the environments where people are born, live, learn, work, play, worship, and age </a:t>
            </a:r>
            <a:endParaRPr lang="en-US" sz="1850">
              <a:latin typeface="Barlow Medium"/>
            </a:endParaRPr>
          </a:p>
          <a:p>
            <a:pPr marL="0" indent="0">
              <a:spcAft>
                <a:spcPts val="2133"/>
              </a:spcAft>
            </a:pPr>
            <a:r>
              <a:rPr lang="en" sz="1600">
                <a:solidFill>
                  <a:srgbClr val="0D1941"/>
                </a:solidFill>
                <a:latin typeface="Barlow Medium"/>
              </a:rPr>
              <a:t>SDOH are major drivers of health, functioning, quality of life and affect a wide range of outcomes and risks.</a:t>
            </a:r>
            <a:endParaRPr lang="en-US" sz="1850">
              <a:latin typeface="Barlow Medium"/>
            </a:endParaRPr>
          </a:p>
          <a:p>
            <a:pPr marL="0" indent="0">
              <a:spcAft>
                <a:spcPts val="2133"/>
              </a:spcAft>
            </a:pPr>
            <a:r>
              <a:rPr lang="en" sz="1600">
                <a:solidFill>
                  <a:srgbClr val="0D1941"/>
                </a:solidFill>
                <a:latin typeface="Barlow Medium"/>
              </a:rPr>
              <a:t>SDOH are shaped by the distribution of resources, power, and money.</a:t>
            </a:r>
          </a:p>
          <a:p>
            <a:pPr marL="227965" indent="-227965" algn="l">
              <a:spcAft>
                <a:spcPts val="2133"/>
              </a:spcAft>
              <a:buChar char="•"/>
            </a:pPr>
            <a:endParaRPr lang="en" sz="1600">
              <a:solidFill>
                <a:srgbClr val="0D1941"/>
              </a:solidFill>
              <a:latin typeface="Barlow Medium"/>
            </a:endParaRPr>
          </a:p>
          <a:p>
            <a:pPr marL="0" indent="0" algn="l">
              <a:spcAft>
                <a:spcPts val="2133"/>
              </a:spcAft>
            </a:pPr>
            <a:endParaRPr lang="en" sz="1600">
              <a:solidFill>
                <a:srgbClr val="0D1941"/>
              </a:solidFill>
              <a:latin typeface="Barlow Medium"/>
            </a:endParaRPr>
          </a:p>
        </p:txBody>
      </p:sp>
      <p:sp>
        <p:nvSpPr>
          <p:cNvPr id="332" name="Google Shape;332;p37"/>
          <p:cNvSpPr txBox="1">
            <a:spLocks noGrp="1"/>
          </p:cNvSpPr>
          <p:nvPr>
            <p:ph type="title"/>
          </p:nvPr>
        </p:nvSpPr>
        <p:spPr>
          <a:xfrm>
            <a:off x="414716" y="369876"/>
            <a:ext cx="7513278" cy="745345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" sz="4000">
                <a:latin typeface="Bebas Neue"/>
              </a:rPr>
              <a:t>What are social determinants of health?</a:t>
            </a:r>
          </a:p>
        </p:txBody>
      </p:sp>
      <p:pic>
        <p:nvPicPr>
          <p:cNvPr id="6" name="Picture 5" descr="A diagram of a person with different symbols&#10;&#10;Description automatically generated">
            <a:extLst>
              <a:ext uri="{FF2B5EF4-FFF2-40B4-BE49-F238E27FC236}">
                <a16:creationId xmlns:a16="http://schemas.microsoft.com/office/drawing/2014/main" id="{13F3B6B1-180E-8A4C-1156-7CCD3FAABAE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97141" y="1368106"/>
            <a:ext cx="4709200" cy="5149441"/>
          </a:xfrm>
          <a:prstGeom prst="rect">
            <a:avLst/>
          </a:prstGeom>
        </p:spPr>
      </p:pic>
      <p:sp>
        <p:nvSpPr>
          <p:cNvPr id="8" name="Google Shape;330;p37">
            <a:extLst>
              <a:ext uri="{FF2B5EF4-FFF2-40B4-BE49-F238E27FC236}">
                <a16:creationId xmlns:a16="http://schemas.microsoft.com/office/drawing/2014/main" id="{EE006F69-4E51-7E6D-A84B-FB4C8A78EBD5}"/>
              </a:ext>
            </a:extLst>
          </p:cNvPr>
          <p:cNvSpPr txBox="1">
            <a:spLocks/>
          </p:cNvSpPr>
          <p:nvPr/>
        </p:nvSpPr>
        <p:spPr>
          <a:xfrm>
            <a:off x="416723" y="3961116"/>
            <a:ext cx="5811115" cy="1512324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rgbClr val="42424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spcAft>
                <a:spcPts val="1067"/>
              </a:spcAft>
            </a:pPr>
            <a:r>
              <a:rPr lang="en" sz="1600">
                <a:solidFill>
                  <a:srgbClr val="0D1941"/>
                </a:solidFill>
                <a:latin typeface="Barlow Medium"/>
              </a:rPr>
              <a:t>Housing          Employment and Income</a:t>
            </a:r>
          </a:p>
          <a:p>
            <a:pPr>
              <a:spcAft>
                <a:spcPts val="1067"/>
              </a:spcAft>
            </a:pPr>
            <a:r>
              <a:rPr lang="en" sz="1600">
                <a:solidFill>
                  <a:srgbClr val="0D1941"/>
                </a:solidFill>
                <a:latin typeface="Barlow Medium"/>
              </a:rPr>
              <a:t>Education                                             Transportation</a:t>
            </a:r>
          </a:p>
          <a:p>
            <a:pPr>
              <a:spcAft>
                <a:spcPts val="1067"/>
              </a:spcAft>
            </a:pPr>
            <a:r>
              <a:rPr lang="en" sz="1600">
                <a:solidFill>
                  <a:srgbClr val="0D1941"/>
                </a:solidFill>
                <a:latin typeface="Barlow Medium"/>
              </a:rPr>
              <a:t>Food                                                         Childcare</a:t>
            </a:r>
          </a:p>
          <a:p>
            <a:pPr indent="0" algn="l">
              <a:spcAft>
                <a:spcPts val="1067"/>
              </a:spcAft>
            </a:pPr>
            <a:r>
              <a:rPr lang="en" sz="1600">
                <a:solidFill>
                  <a:srgbClr val="0D1941"/>
                </a:solidFill>
                <a:latin typeface="Barlow Medium"/>
              </a:rPr>
              <a:t>Utilities</a:t>
            </a:r>
          </a:p>
          <a:p>
            <a:pPr marL="227965">
              <a:spcAft>
                <a:spcPts val="2133"/>
              </a:spcAft>
              <a:buChar char="•"/>
            </a:pPr>
            <a:endParaRPr lang="en" sz="1600">
              <a:solidFill>
                <a:srgbClr val="0D1941"/>
              </a:solidFill>
              <a:latin typeface="Barlow Medium"/>
            </a:endParaRPr>
          </a:p>
          <a:p>
            <a:pPr marL="227965">
              <a:spcAft>
                <a:spcPts val="2133"/>
              </a:spcAft>
              <a:buChar char="•"/>
            </a:pPr>
            <a:endParaRPr lang="en" sz="1600">
              <a:solidFill>
                <a:srgbClr val="0D1941"/>
              </a:solidFill>
              <a:latin typeface="Barlow Medium"/>
            </a:endParaRPr>
          </a:p>
          <a:p>
            <a:pPr>
              <a:spcAft>
                <a:spcPts val="2133"/>
              </a:spcAft>
            </a:pPr>
            <a:endParaRPr lang="en" sz="1600">
              <a:solidFill>
                <a:srgbClr val="0D1941"/>
              </a:solidFill>
              <a:latin typeface="Barlow Medium"/>
            </a:endParaRPr>
          </a:p>
        </p:txBody>
      </p:sp>
      <p:pic>
        <p:nvPicPr>
          <p:cNvPr id="9" name="Picture 8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373CC2AA-9360-F846-0958-649E5EA1421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8068" y="6272921"/>
            <a:ext cx="2478101" cy="492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433094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diagram of health care&#10;&#10;Description automatically generated">
            <a:extLst>
              <a:ext uri="{FF2B5EF4-FFF2-40B4-BE49-F238E27FC236}">
                <a16:creationId xmlns:a16="http://schemas.microsoft.com/office/drawing/2014/main" id="{4BD3C866-AA37-D861-CE1C-FDA4930F13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2622"/>
            <a:ext cx="12193301" cy="6859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11287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2" name="Google Shape;332;p37"/>
          <p:cNvSpPr txBox="1">
            <a:spLocks noGrp="1"/>
          </p:cNvSpPr>
          <p:nvPr>
            <p:ph type="title"/>
          </p:nvPr>
        </p:nvSpPr>
        <p:spPr>
          <a:xfrm>
            <a:off x="270199" y="396975"/>
            <a:ext cx="8207536" cy="507722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" sz="4000">
                <a:latin typeface="Bebas Neue"/>
              </a:rPr>
              <a:t>Screening and connecting to resourc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D4D059E-5D06-B6A0-34C9-64267B4CDE7D}"/>
              </a:ext>
            </a:extLst>
          </p:cNvPr>
          <p:cNvSpPr txBox="1"/>
          <p:nvPr/>
        </p:nvSpPr>
        <p:spPr>
          <a:xfrm>
            <a:off x="421422" y="2676242"/>
            <a:ext cx="3750128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>
                <a:solidFill>
                  <a:srgbClr val="0D1941"/>
                </a:solidFill>
                <a:latin typeface="Barlow Medium"/>
              </a:rPr>
              <a:t>In the neonatal setting …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52EAB0E-4261-9A6D-5FEA-C4922E6E3B48}"/>
              </a:ext>
            </a:extLst>
          </p:cNvPr>
          <p:cNvSpPr txBox="1"/>
          <p:nvPr/>
        </p:nvSpPr>
        <p:spPr>
          <a:xfrm>
            <a:off x="529708" y="3291787"/>
            <a:ext cx="6638797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latin typeface="Barlow Medium"/>
                <a:cs typeface="Arial"/>
              </a:rPr>
              <a:t>Current approaches to screening for SDOH risks and needs and linking to resources in inconsiste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D659E80-7AC0-4EF4-1CEF-9B016E52C50A}"/>
              </a:ext>
            </a:extLst>
          </p:cNvPr>
          <p:cNvSpPr txBox="1"/>
          <p:nvPr/>
        </p:nvSpPr>
        <p:spPr>
          <a:xfrm>
            <a:off x="529981" y="4063525"/>
            <a:ext cx="6632395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latin typeface="Barlow Medium"/>
                <a:cs typeface="Arial"/>
              </a:rPr>
              <a:t>Only 23% of US Level 2 to 4 NICUs reported standardized SDOH screening</a:t>
            </a:r>
            <a:r>
              <a:rPr lang="en-US">
                <a:solidFill>
                  <a:srgbClr val="424245"/>
                </a:solidFill>
                <a:latin typeface="Barlow Medium"/>
                <a:cs typeface="Arial"/>
              </a:rPr>
              <a:t>. </a:t>
            </a:r>
            <a:r>
              <a:rPr lang="en-US">
                <a:solidFill>
                  <a:srgbClr val="444C55"/>
                </a:solidFill>
                <a:latin typeface="Barlow Medium"/>
                <a:cs typeface="Arial"/>
              </a:rPr>
              <a:t>(Cordova Ramos et al, Hospital Pediatrics 2022).</a:t>
            </a:r>
            <a:endParaRPr lang="en-US">
              <a:latin typeface="Barlow Medium"/>
            </a:endParaRPr>
          </a:p>
        </p:txBody>
      </p:sp>
      <p:pic>
        <p:nvPicPr>
          <p:cNvPr id="10" name="Picture 9" descr="A diagram of a house and apple&#10;&#10;Description automatically generated">
            <a:extLst>
              <a:ext uri="{FF2B5EF4-FFF2-40B4-BE49-F238E27FC236}">
                <a16:creationId xmlns:a16="http://schemas.microsoft.com/office/drawing/2014/main" id="{E5E46147-4270-3016-6919-9EC16C438F3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7942" y="524126"/>
            <a:ext cx="2428450" cy="295741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EC64D05-3961-3930-1AC3-4CE4B5425604}"/>
              </a:ext>
            </a:extLst>
          </p:cNvPr>
          <p:cNvSpPr txBox="1"/>
          <p:nvPr/>
        </p:nvSpPr>
        <p:spPr>
          <a:xfrm>
            <a:off x="421422" y="1067080"/>
            <a:ext cx="7206342" cy="184665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latin typeface="Barlow Medium"/>
              </a:rPr>
              <a:t>SDOH screening and referral to resources is recommended at each clinical encounter. </a:t>
            </a:r>
          </a:p>
          <a:p>
            <a:pPr marL="285750" indent="-285750">
              <a:buFont typeface="Arial"/>
              <a:buChar char="•"/>
            </a:pPr>
            <a:r>
              <a:rPr lang="en-US" sz="1600">
                <a:latin typeface="Barlow Medium"/>
                <a:ea typeface="Open Sans"/>
                <a:cs typeface="Open Sans"/>
              </a:rPr>
              <a:t>Joint Commission and CMS require SDOH screening and referral and the AAP endorses providers to screen for SDOH risks and needs and then refer to resources.</a:t>
            </a:r>
          </a:p>
          <a:p>
            <a:pPr marL="285750" indent="-285750">
              <a:buFont typeface="Arial"/>
              <a:buChar char="•"/>
            </a:pPr>
            <a:endParaRPr lang="en-US" sz="1200">
              <a:latin typeface="Barlow Medium"/>
              <a:ea typeface="Open Sans"/>
              <a:cs typeface="Open Sans"/>
            </a:endParaRPr>
          </a:p>
          <a:p>
            <a:pPr marL="285750" indent="-285750">
              <a:buFont typeface="Arial"/>
              <a:buChar char="•"/>
            </a:pPr>
            <a:endParaRPr lang="en-US">
              <a:latin typeface="Barlow Medium"/>
            </a:endParaRPr>
          </a:p>
        </p:txBody>
      </p:sp>
      <p:pic>
        <p:nvPicPr>
          <p:cNvPr id="3" name="Picture 2" descr="A close-up of a sign&#10;&#10;Description automatically generated">
            <a:extLst>
              <a:ext uri="{FF2B5EF4-FFF2-40B4-BE49-F238E27FC236}">
                <a16:creationId xmlns:a16="http://schemas.microsoft.com/office/drawing/2014/main" id="{2A09B1D8-E54A-4166-4AAF-71CAAF49ED6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4195" y="4936672"/>
            <a:ext cx="3045285" cy="849313"/>
          </a:xfrm>
          <a:prstGeom prst="rect">
            <a:avLst/>
          </a:prstGeom>
        </p:spPr>
      </p:pic>
      <p:pic>
        <p:nvPicPr>
          <p:cNvPr id="4" name="Picture 3" descr="A pink background with black text&#10;&#10;Description automatically generated">
            <a:extLst>
              <a:ext uri="{FF2B5EF4-FFF2-40B4-BE49-F238E27FC236}">
                <a16:creationId xmlns:a16="http://schemas.microsoft.com/office/drawing/2014/main" id="{937B3A1C-E2CB-C6D4-29FE-F6F4E03173A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70339" y="5934075"/>
            <a:ext cx="3056448" cy="641307"/>
          </a:xfrm>
          <a:prstGeom prst="rect">
            <a:avLst/>
          </a:prstGeom>
        </p:spPr>
      </p:pic>
      <p:pic>
        <p:nvPicPr>
          <p:cNvPr id="6" name="Picture 5" descr="A close-up of a sign&#10;&#10;Description automatically generated">
            <a:extLst>
              <a:ext uri="{FF2B5EF4-FFF2-40B4-BE49-F238E27FC236}">
                <a16:creationId xmlns:a16="http://schemas.microsoft.com/office/drawing/2014/main" id="{8AAF6351-6380-5481-212E-762B389D48FE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86275" y="4933950"/>
            <a:ext cx="2686588" cy="82252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CEE97B5-DEE2-EB8A-210C-F5DD17CA6F0B}"/>
              </a:ext>
            </a:extLst>
          </p:cNvPr>
          <p:cNvSpPr txBox="1"/>
          <p:nvPr/>
        </p:nvSpPr>
        <p:spPr>
          <a:xfrm>
            <a:off x="7623899" y="3942426"/>
            <a:ext cx="4422320" cy="181588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800" b="1" dirty="0">
                <a:solidFill>
                  <a:srgbClr val="0070C0"/>
                </a:solidFill>
              </a:rPr>
              <a:t>How do we address these barriers in all settings where infants receive care?</a:t>
            </a:r>
            <a:endParaRPr lang="en-US" sz="3200" b="1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386801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2" name="Google Shape;332;p37"/>
          <p:cNvSpPr txBox="1">
            <a:spLocks noGrp="1"/>
          </p:cNvSpPr>
          <p:nvPr>
            <p:ph type="title"/>
          </p:nvPr>
        </p:nvSpPr>
        <p:spPr>
          <a:xfrm>
            <a:off x="346564" y="299384"/>
            <a:ext cx="6824522" cy="880922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" sz="4000">
                <a:latin typeface="Bebas Neue"/>
              </a:rPr>
              <a:t>SOCIAL SCREENING TOOL SELECTION</a:t>
            </a:r>
          </a:p>
        </p:txBody>
      </p:sp>
      <p:sp>
        <p:nvSpPr>
          <p:cNvPr id="7" name="Google Shape;332;p37">
            <a:extLst>
              <a:ext uri="{FF2B5EF4-FFF2-40B4-BE49-F238E27FC236}">
                <a16:creationId xmlns:a16="http://schemas.microsoft.com/office/drawing/2014/main" id="{96F059BD-A9DC-BB22-0693-148234AEA9DF}"/>
              </a:ext>
            </a:extLst>
          </p:cNvPr>
          <p:cNvSpPr txBox="1">
            <a:spLocks/>
          </p:cNvSpPr>
          <p:nvPr/>
        </p:nvSpPr>
        <p:spPr>
          <a:xfrm>
            <a:off x="339894" y="1482377"/>
            <a:ext cx="11512244" cy="1207843"/>
          </a:xfrm>
          <a:prstGeom prst="rect">
            <a:avLst/>
          </a:prstGeom>
          <a:noFill/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457200" indent="-457200">
              <a:buChar char="•"/>
            </a:pPr>
            <a:r>
              <a:rPr lang="en" sz="2200" kern="0">
                <a:latin typeface="Barlow Medium"/>
              </a:rPr>
              <a:t>Do you already use a social screening tool in your health system? </a:t>
            </a:r>
          </a:p>
          <a:p>
            <a:pPr marL="914400" lvl="1" indent="-457200">
              <a:buFont typeface="Courier New"/>
              <a:buChar char="o"/>
            </a:pPr>
            <a:r>
              <a:rPr lang="en" sz="2200" kern="0">
                <a:latin typeface="Barlow Medium"/>
              </a:rPr>
              <a:t>Think about adapting your current screening tool to adapt for use in NICU. </a:t>
            </a:r>
          </a:p>
          <a:p>
            <a:pPr marL="914400" lvl="1" indent="-457200">
              <a:buFont typeface="Courier New"/>
              <a:buChar char="o"/>
            </a:pPr>
            <a:r>
              <a:rPr lang="en" sz="2200" kern="0">
                <a:latin typeface="Barlow Medium"/>
              </a:rPr>
              <a:t>Here are a few considerations to think about. </a:t>
            </a:r>
            <a:endParaRPr lang="en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C4F8A575-1976-7E6F-1168-E04FB2677F00}"/>
              </a:ext>
            </a:extLst>
          </p:cNvPr>
          <p:cNvGraphicFramePr>
            <a:graphicFrameLocks noGrp="1"/>
          </p:cNvGraphicFramePr>
          <p:nvPr/>
        </p:nvGraphicFramePr>
        <p:xfrm>
          <a:off x="510267" y="3013982"/>
          <a:ext cx="11173927" cy="27311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0895">
                  <a:extLst>
                    <a:ext uri="{9D8B030D-6E8A-4147-A177-3AD203B41FA5}">
                      <a16:colId xmlns:a16="http://schemas.microsoft.com/office/drawing/2014/main" val="743363236"/>
                    </a:ext>
                  </a:extLst>
                </a:gridCol>
                <a:gridCol w="4268390">
                  <a:extLst>
                    <a:ext uri="{9D8B030D-6E8A-4147-A177-3AD203B41FA5}">
                      <a16:colId xmlns:a16="http://schemas.microsoft.com/office/drawing/2014/main" val="3715017215"/>
                    </a:ext>
                  </a:extLst>
                </a:gridCol>
                <a:gridCol w="3724642">
                  <a:extLst>
                    <a:ext uri="{9D8B030D-6E8A-4147-A177-3AD203B41FA5}">
                      <a16:colId xmlns:a16="http://schemas.microsoft.com/office/drawing/2014/main" val="589928682"/>
                    </a:ext>
                  </a:extLst>
                </a:gridCol>
              </a:tblGrid>
              <a:tr h="421821">
                <a:tc>
                  <a:txBody>
                    <a:bodyPr/>
                    <a:lstStyle/>
                    <a:p>
                      <a:endParaRPr lang="en-US" b="1">
                        <a:solidFill>
                          <a:schemeClr val="tx1"/>
                        </a:solidFill>
                        <a:latin typeface="barlow medium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tx1"/>
                          </a:solidFill>
                          <a:latin typeface="barlow medium"/>
                        </a:rPr>
                        <a:t>Tool Already in Use in Your Health System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tx1"/>
                          </a:solidFill>
                          <a:latin typeface="barlow medium"/>
                        </a:rPr>
                        <a:t>Tool Not Already in Use in Your Health System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8889905"/>
                  </a:ext>
                </a:extLst>
              </a:tr>
              <a:tr h="577342">
                <a:tc>
                  <a:txBody>
                    <a:bodyPr/>
                    <a:lstStyle/>
                    <a:p>
                      <a:r>
                        <a:rPr lang="en-US" sz="1500">
                          <a:latin typeface="barlow medium"/>
                        </a:rPr>
                        <a:t>Electronic Health Record (EHR) Integratio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>
                          <a:latin typeface="barlow medium"/>
                        </a:rPr>
                        <a:t>Often already in EH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>
                          <a:latin typeface="barlow medium"/>
                        </a:rPr>
                        <a:t>More time needed to get additional questions integrated into EH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601340"/>
                  </a:ext>
                </a:extLst>
              </a:tr>
              <a:tr h="577342">
                <a:tc>
                  <a:txBody>
                    <a:bodyPr/>
                    <a:lstStyle/>
                    <a:p>
                      <a:r>
                        <a:rPr lang="en-US" sz="1500">
                          <a:latin typeface="barlow medium"/>
                        </a:rPr>
                        <a:t>Familiarity to other providers in health system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>
                          <a:latin typeface="barlow medium"/>
                        </a:rPr>
                        <a:t>Often more familiar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>
                          <a:latin typeface="barlow medium"/>
                        </a:rPr>
                        <a:t>Often less familiar 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9343991"/>
                  </a:ext>
                </a:extLst>
              </a:tr>
              <a:tr h="577342">
                <a:tc>
                  <a:txBody>
                    <a:bodyPr/>
                    <a:lstStyle/>
                    <a:p>
                      <a:r>
                        <a:rPr lang="en-US" sz="1500">
                          <a:latin typeface="barlow medium"/>
                        </a:rPr>
                        <a:t>Aligned with families in the NICU and infant setting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>
                          <a:latin typeface="barlow medium"/>
                        </a:rPr>
                        <a:t>Often less aligned, as it is meant for adults or out-patient sett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>
                          <a:latin typeface="barlow medium"/>
                        </a:rPr>
                        <a:t>Can choose a tool that is more aligned with infant health needs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6061099"/>
                  </a:ext>
                </a:extLst>
              </a:tr>
              <a:tr h="577342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>
                          <a:latin typeface="barlow medium"/>
                        </a:rPr>
                        <a:t>Length and Ease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>
                          <a:latin typeface="barlow medium"/>
                        </a:rPr>
                        <a:t>Can have more elements than needed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>
                          <a:latin typeface="barlow medium"/>
                        </a:rPr>
                        <a:t>Can choose appropriate length 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3356334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6D6EB31F-8A38-6F0C-C3E5-DF62AE6A79D7}"/>
              </a:ext>
            </a:extLst>
          </p:cNvPr>
          <p:cNvSpPr txBox="1"/>
          <p:nvPr/>
        </p:nvSpPr>
        <p:spPr>
          <a:xfrm>
            <a:off x="-19353" y="6610040"/>
            <a:ext cx="5012067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i="1">
                <a:solidFill>
                  <a:srgbClr val="000000"/>
                </a:solidFill>
                <a:latin typeface="Barlow Medium"/>
              </a:rPr>
              <a:t>Table adapted from Vermont Oxford Network Health Equity and Follow-Through Series</a:t>
            </a:r>
            <a:endParaRPr lang="en-US" i="1"/>
          </a:p>
        </p:txBody>
      </p:sp>
    </p:spTree>
    <p:extLst>
      <p:ext uri="{BB962C8B-B14F-4D97-AF65-F5344CB8AC3E}">
        <p14:creationId xmlns:p14="http://schemas.microsoft.com/office/powerpoint/2010/main" val="198652846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332;p37">
            <a:extLst>
              <a:ext uri="{FF2B5EF4-FFF2-40B4-BE49-F238E27FC236}">
                <a16:creationId xmlns:a16="http://schemas.microsoft.com/office/drawing/2014/main" id="{9798F9C5-9239-1388-F176-FD0490E75313}"/>
              </a:ext>
            </a:extLst>
          </p:cNvPr>
          <p:cNvSpPr txBox="1">
            <a:spLocks/>
          </p:cNvSpPr>
          <p:nvPr/>
        </p:nvSpPr>
        <p:spPr>
          <a:xfrm>
            <a:off x="7562911" y="128821"/>
            <a:ext cx="4428283" cy="1814978"/>
          </a:xfrm>
          <a:prstGeom prst="rect">
            <a:avLst/>
          </a:prstGeom>
          <a:noFill/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" sz="2400" i="1" kern="0">
                <a:latin typeface="Barlow Medium"/>
              </a:rPr>
              <a:t>What areas are not in your current screening tool?</a:t>
            </a:r>
          </a:p>
        </p:txBody>
      </p:sp>
      <p:sp>
        <p:nvSpPr>
          <p:cNvPr id="6" name="Google Shape;332;p37">
            <a:extLst>
              <a:ext uri="{FF2B5EF4-FFF2-40B4-BE49-F238E27FC236}">
                <a16:creationId xmlns:a16="http://schemas.microsoft.com/office/drawing/2014/main" id="{0BD10D7D-9286-BF58-3D09-F78D28BCC535}"/>
              </a:ext>
            </a:extLst>
          </p:cNvPr>
          <p:cNvSpPr txBox="1">
            <a:spLocks/>
          </p:cNvSpPr>
          <p:nvPr/>
        </p:nvSpPr>
        <p:spPr>
          <a:xfrm>
            <a:off x="149596" y="357972"/>
            <a:ext cx="7162943" cy="1354307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rgbClr val="42424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" sz="4000" kern="0">
                <a:latin typeface="Bebas Neue"/>
              </a:rPr>
              <a:t>INFANT and FAMILY relevant DOMAINS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E366EF98-438A-8B71-8D4D-98103910BA48}"/>
              </a:ext>
            </a:extLst>
          </p:cNvPr>
          <p:cNvGraphicFramePr>
            <a:graphicFrameLocks noGrp="1"/>
          </p:cNvGraphicFramePr>
          <p:nvPr/>
        </p:nvGraphicFramePr>
        <p:xfrm>
          <a:off x="445477" y="2163495"/>
          <a:ext cx="11456655" cy="44920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91442">
                  <a:extLst>
                    <a:ext uri="{9D8B030D-6E8A-4147-A177-3AD203B41FA5}">
                      <a16:colId xmlns:a16="http://schemas.microsoft.com/office/drawing/2014/main" val="1835844886"/>
                    </a:ext>
                  </a:extLst>
                </a:gridCol>
                <a:gridCol w="1216121">
                  <a:extLst>
                    <a:ext uri="{9D8B030D-6E8A-4147-A177-3AD203B41FA5}">
                      <a16:colId xmlns:a16="http://schemas.microsoft.com/office/drawing/2014/main" val="2628076375"/>
                    </a:ext>
                  </a:extLst>
                </a:gridCol>
                <a:gridCol w="5075072">
                  <a:extLst>
                    <a:ext uri="{9D8B030D-6E8A-4147-A177-3AD203B41FA5}">
                      <a16:colId xmlns:a16="http://schemas.microsoft.com/office/drawing/2014/main" val="1965687498"/>
                    </a:ext>
                  </a:extLst>
                </a:gridCol>
                <a:gridCol w="2774020">
                  <a:extLst>
                    <a:ext uri="{9D8B030D-6E8A-4147-A177-3AD203B41FA5}">
                      <a16:colId xmlns:a16="http://schemas.microsoft.com/office/drawing/2014/main" val="1876477817"/>
                    </a:ext>
                  </a:extLst>
                </a:gridCol>
              </a:tblGrid>
              <a:tr h="523393"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tx1"/>
                          </a:solidFill>
                          <a:latin typeface="Barlow Medium"/>
                        </a:rPr>
                        <a:t>Possible Domains</a:t>
                      </a:r>
                    </a:p>
                  </a:txBody>
                  <a:tcPr>
                    <a:lnB w="0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tx1"/>
                          </a:solidFill>
                          <a:latin typeface="Barlow Medium"/>
                        </a:rPr>
                        <a:t>CMS Mandate</a:t>
                      </a:r>
                    </a:p>
                  </a:txBody>
                  <a:tcPr>
                    <a:lnB w="0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tx1"/>
                          </a:solidFill>
                          <a:latin typeface="Barlow Medium"/>
                        </a:rPr>
                        <a:t>Relevance to Newborn Health</a:t>
                      </a:r>
                    </a:p>
                  </a:txBody>
                  <a:tcPr>
                    <a:lnB w="0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tx1"/>
                          </a:solidFill>
                          <a:latin typeface="Barlow Medium"/>
                        </a:rPr>
                        <a:t>Recommendation</a:t>
                      </a:r>
                    </a:p>
                  </a:txBody>
                  <a:tcPr>
                    <a:lnB w="0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1845908"/>
                  </a:ext>
                </a:extLst>
              </a:tr>
              <a:tr h="179595">
                <a:tc>
                  <a:txBody>
                    <a:bodyPr/>
                    <a:lstStyle/>
                    <a:p>
                      <a:r>
                        <a:rPr lang="en-US">
                          <a:latin typeface="Barlow Medium"/>
                        </a:rPr>
                        <a:t>Housing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latin typeface="Barlow Medium"/>
                        </a:rPr>
                        <a:t>Yes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r>
                        <a:rPr lang="en-US">
                          <a:latin typeface="Barlow Medium"/>
                        </a:rPr>
                        <a:t>Evidence that these factors are related to child health outcomes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r>
                        <a:rPr lang="en-US">
                          <a:latin typeface="Barlow Medium"/>
                        </a:rPr>
                        <a:t>High priority to include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3281207"/>
                  </a:ext>
                </a:extLst>
              </a:tr>
              <a:tr h="179595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>
                          <a:latin typeface="Barlow Medium"/>
                        </a:rPr>
                        <a:t>Energy/Utilities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>
                          <a:latin typeface="Barlow Medium"/>
                        </a:rPr>
                        <a:t>Yes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790652"/>
                  </a:ext>
                </a:extLst>
              </a:tr>
              <a:tr h="312964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>
                          <a:latin typeface="Barlow Medium"/>
                        </a:rPr>
                        <a:t>Food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>
                          <a:latin typeface="Barlow Medium"/>
                        </a:rPr>
                        <a:t>Yes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9699730"/>
                  </a:ext>
                </a:extLst>
              </a:tr>
              <a:tr h="269393">
                <a:tc>
                  <a:txBody>
                    <a:bodyPr/>
                    <a:lstStyle/>
                    <a:p>
                      <a:r>
                        <a:rPr lang="en-US">
                          <a:latin typeface="Barlow Medium"/>
                        </a:rPr>
                        <a:t>Transportation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latin typeface="Barlow Medium"/>
                        </a:rPr>
                        <a:t>Yes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r>
                        <a:rPr lang="en-US">
                          <a:latin typeface="Barlow Medium"/>
                        </a:rPr>
                        <a:t>Evidence that these factors are facilitators of participation in infant caregiving activities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r>
                        <a:rPr lang="en-US">
                          <a:latin typeface="Barlow Medium"/>
                        </a:rPr>
                        <a:t>High priority to include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2313148"/>
                  </a:ext>
                </a:extLst>
              </a:tr>
              <a:tr h="269393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>
                          <a:latin typeface="Barlow Medium"/>
                        </a:rPr>
                        <a:t>Childcare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>
                          <a:latin typeface="Barlow Medium"/>
                        </a:rPr>
                        <a:t>No</a:t>
                      </a:r>
                    </a:p>
                  </a:txBody>
                  <a:tcPr>
                    <a:lnL w="0">
                      <a:noFill/>
                    </a:lnL>
                    <a:lnT w="0">
                      <a:noFill/>
                    </a:lnT>
                    <a:lnB w="0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>
                      <a:solidFill>
                        <a:schemeClr val="tx1"/>
                      </a:solidFill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>
                      <a:solidFill>
                        <a:schemeClr val="tx1"/>
                      </a:solidFill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58600247"/>
                  </a:ext>
                </a:extLst>
              </a:tr>
              <a:tr h="269393">
                <a:tc>
                  <a:txBody>
                    <a:bodyPr/>
                    <a:lstStyle/>
                    <a:p>
                      <a:r>
                        <a:rPr lang="en-US">
                          <a:latin typeface="Barlow Medium"/>
                        </a:rPr>
                        <a:t>Employment 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latin typeface="Barlow Medium"/>
                        </a:rPr>
                        <a:t>No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r>
                        <a:rPr lang="en-US">
                          <a:latin typeface="Barlow Medium"/>
                        </a:rPr>
                        <a:t>Evidence that these factors are tied to economic mobility of families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r>
                        <a:rPr lang="en-US">
                          <a:latin typeface="Barlow Medium"/>
                        </a:rPr>
                        <a:t>Include and ask at household level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6299413"/>
                  </a:ext>
                </a:extLst>
              </a:tr>
              <a:tr h="269393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>
                          <a:latin typeface="Barlow Medium"/>
                        </a:rPr>
                        <a:t>Education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>
                          <a:latin typeface="Barlow Medium"/>
                        </a:rPr>
                        <a:t>No</a:t>
                      </a:r>
                    </a:p>
                  </a:txBody>
                  <a:tcPr>
                    <a:lnL w="0">
                      <a:noFill/>
                    </a:lnL>
                    <a:lnT w="0">
                      <a:noFill/>
                    </a:lnT>
                    <a:lnB w="0">
                      <a:noFill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6254232"/>
                  </a:ext>
                </a:extLst>
              </a:tr>
              <a:tr h="543972">
                <a:tc>
                  <a:txBody>
                    <a:bodyPr/>
                    <a:lstStyle/>
                    <a:p>
                      <a:r>
                        <a:rPr lang="en-US">
                          <a:latin typeface="Barlow Medium"/>
                        </a:rPr>
                        <a:t>Material goods for babies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latin typeface="Barlow Medium"/>
                        </a:rPr>
                        <a:t>No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>
                          <a:latin typeface="Barlow Medium"/>
                        </a:rPr>
                        <a:t>Families without cribs, diapers, thermometers, clothes can't care for their infant safely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latin typeface="Barlow Medium"/>
                        </a:rPr>
                        <a:t>Include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3351482"/>
                  </a:ext>
                </a:extLst>
              </a:tr>
              <a:tr h="738909">
                <a:tc>
                  <a:txBody>
                    <a:bodyPr/>
                    <a:lstStyle/>
                    <a:p>
                      <a:r>
                        <a:rPr lang="en-US">
                          <a:latin typeface="Barlow Medium"/>
                        </a:rPr>
                        <a:t>Interpersonal violence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latin typeface="Barlow Medium"/>
                        </a:rPr>
                        <a:t>Yes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latin typeface="Barlow Medium"/>
                        </a:rPr>
                        <a:t>Evidence that this is related to child health outcomes; however, this is often screened in L &amp; D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latin typeface="Barlow Medium"/>
                        </a:rPr>
                        <a:t>+/- include depending on other screening at your hospital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4073212"/>
                  </a:ext>
                </a:extLst>
              </a:tr>
              <a:tr h="543972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>
                          <a:latin typeface="Barlow Medium"/>
                        </a:rPr>
                        <a:t>Internet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>
                          <a:latin typeface="Barlow Medium"/>
                        </a:rPr>
                        <a:t>No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>
                          <a:latin typeface="Barlow Medium"/>
                        </a:rPr>
                        <a:t>Recently emerged as a notable issue due to lack of internet access in certain areas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>
                          <a:latin typeface="Barlow Medium"/>
                        </a:rPr>
                        <a:t>+/- include depending on location of NICU</a:t>
                      </a: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327192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B5046D58-3DD8-10DE-F77F-AB57729187AC}"/>
              </a:ext>
            </a:extLst>
          </p:cNvPr>
          <p:cNvSpPr/>
          <p:nvPr/>
        </p:nvSpPr>
        <p:spPr>
          <a:xfrm>
            <a:off x="4041321" y="2149928"/>
            <a:ext cx="7810500" cy="4503964"/>
          </a:xfrm>
          <a:prstGeom prst="rect">
            <a:avLst/>
          </a:prstGeom>
          <a:noFill/>
          <a:ln w="57150"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4A39BC5-3645-FF20-8D94-671AC75428CD}"/>
              </a:ext>
            </a:extLst>
          </p:cNvPr>
          <p:cNvSpPr txBox="1"/>
          <p:nvPr/>
        </p:nvSpPr>
        <p:spPr>
          <a:xfrm>
            <a:off x="6967915" y="1779504"/>
            <a:ext cx="5012067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00" i="1">
                <a:solidFill>
                  <a:srgbClr val="000000"/>
                </a:solidFill>
                <a:latin typeface="Barlow Medium"/>
              </a:rPr>
              <a:t>Table adapted from Vermont Oxford Network Health Equity and Follow-Through Series</a:t>
            </a:r>
            <a:endParaRPr lang="en-US" i="1"/>
          </a:p>
        </p:txBody>
      </p:sp>
    </p:spTree>
    <p:extLst>
      <p:ext uri="{BB962C8B-B14F-4D97-AF65-F5344CB8AC3E}">
        <p14:creationId xmlns:p14="http://schemas.microsoft.com/office/powerpoint/2010/main" val="4910722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>
          <a:xfrm>
            <a:off x="605789" y="456520"/>
            <a:ext cx="8229600" cy="1143000"/>
          </a:xfrm>
          <a:noFill/>
        </p:spPr>
        <p:txBody>
          <a:bodyPr>
            <a:normAutofit/>
          </a:bodyPr>
          <a:lstStyle/>
          <a:p>
            <a:r>
              <a:rPr lang="en-US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Overview</a:t>
            </a:r>
          </a:p>
        </p:txBody>
      </p:sp>
      <p:sp>
        <p:nvSpPr>
          <p:cNvPr id="16387" name="Content Placeholder 3"/>
          <p:cNvSpPr>
            <a:spLocks noGrp="1"/>
          </p:cNvSpPr>
          <p:nvPr>
            <p:ph idx="1"/>
          </p:nvPr>
        </p:nvSpPr>
        <p:spPr>
          <a:xfrm>
            <a:off x="504159" y="1720370"/>
            <a:ext cx="7489719" cy="4948346"/>
          </a:xfrm>
        </p:spPr>
        <p:txBody>
          <a:bodyPr vert="horz" lIns="91440" tIns="45720" rIns="91440" bIns="45720" rtlCol="0" anchor="t">
            <a:normAutofit/>
          </a:bodyPr>
          <a:lstStyle/>
          <a:p>
            <a:endParaRPr lang="en-US" altLang="en-US" sz="2800"/>
          </a:p>
          <a:p>
            <a:pPr>
              <a:buClr>
                <a:srgbClr val="F5668F"/>
              </a:buClr>
            </a:pPr>
            <a:endParaRPr lang="en-US" altLang="en-US" sz="2800"/>
          </a:p>
          <a:p>
            <a:pPr>
              <a:buClr>
                <a:srgbClr val="F5668F"/>
              </a:buClr>
            </a:pPr>
            <a:endParaRPr lang="en-US" altLang="en-US" sz="2200"/>
          </a:p>
          <a:p>
            <a:pPr>
              <a:buClr>
                <a:srgbClr val="F5668F"/>
              </a:buClr>
            </a:pPr>
            <a:endParaRPr lang="en-US" altLang="en-US" sz="2200"/>
          </a:p>
          <a:p>
            <a:pPr marL="457200" lvl="1" indent="0">
              <a:buClr>
                <a:srgbClr val="004990"/>
              </a:buClr>
              <a:buNone/>
            </a:pPr>
            <a:endParaRPr lang="en-US" altLang="en-US" sz="2200"/>
          </a:p>
          <a:p>
            <a:pPr>
              <a:buClr>
                <a:srgbClr val="F5668F"/>
              </a:buClr>
            </a:pPr>
            <a:endParaRPr lang="en-US" alt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B9DA9E4-8E57-D07F-2A71-1A5B61A0F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  <a:cs typeface="Calibri"/>
              </a:rPr>
              <a:t>Illinois Perinatal Quality Collaborativ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2BF6A44-9F85-5CD9-CFDD-619DFCC5DAE3}"/>
              </a:ext>
            </a:extLst>
          </p:cNvPr>
          <p:cNvSpPr txBox="1">
            <a:spLocks/>
          </p:cNvSpPr>
          <p:nvPr/>
        </p:nvSpPr>
        <p:spPr>
          <a:xfrm>
            <a:off x="605227" y="1889195"/>
            <a:ext cx="10434221" cy="392466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FontTx/>
              <a:buChar char="•"/>
            </a:pPr>
            <a:r>
              <a:rPr lang="en-US" sz="2800" dirty="0">
                <a:solidFill>
                  <a:srgbClr val="000000"/>
                </a:solidFill>
                <a:latin typeface="Aptos Display"/>
                <a:ea typeface="Lato Medium"/>
                <a:cs typeface="Arial"/>
              </a:rPr>
              <a:t>Annual Conference 2024 </a:t>
            </a:r>
            <a:endParaRPr lang="en-US" sz="2800" dirty="0">
              <a:latin typeface="Aptos Display"/>
            </a:endParaRPr>
          </a:p>
          <a:p>
            <a:pPr marL="342900" indent="-34290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r>
              <a:rPr lang="en-US" sz="2800" dirty="0">
                <a:solidFill>
                  <a:srgbClr val="000000"/>
                </a:solidFill>
                <a:latin typeface="Aptos Display"/>
                <a:ea typeface="Lato Medium"/>
                <a:cs typeface="Arial"/>
              </a:rPr>
              <a:t>ESSI Aims and Measures</a:t>
            </a: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r>
              <a:rPr lang="en-US" sz="2800" dirty="0">
                <a:solidFill>
                  <a:srgbClr val="000000"/>
                </a:solidFill>
                <a:latin typeface="Aptos Display"/>
                <a:ea typeface="Lato Medium"/>
                <a:cs typeface="Arial"/>
              </a:rPr>
              <a:t> Data Overview</a:t>
            </a:r>
            <a:endParaRPr lang="en-US" sz="2800" dirty="0">
              <a:latin typeface="Aptos Display"/>
            </a:endParaRP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r>
              <a:rPr lang="en-US" sz="2800" dirty="0">
                <a:solidFill>
                  <a:srgbClr val="000000"/>
                </a:solidFill>
                <a:latin typeface="Aptos Display"/>
                <a:ea typeface="Lato Medium"/>
                <a:cs typeface="Arial"/>
              </a:rPr>
              <a:t> SDOH Screening and Implementation into EMR </a:t>
            </a:r>
            <a:endParaRPr lang="en-US" sz="2800" dirty="0">
              <a:latin typeface="Aptos Display"/>
            </a:endParaRP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r>
              <a:rPr lang="en-US" sz="2800" dirty="0">
                <a:solidFill>
                  <a:srgbClr val="000000"/>
                </a:solidFill>
                <a:latin typeface="Aptos Display"/>
                <a:ea typeface="Lato Medium"/>
                <a:cs typeface="Arial"/>
              </a:rPr>
              <a:t> Team Talk – Edward Hospital</a:t>
            </a: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r>
              <a:rPr lang="en-US" sz="2800" dirty="0">
                <a:latin typeface="Aptos Display"/>
                <a:ea typeface="Lato Medium"/>
                <a:cs typeface="Arial"/>
              </a:rPr>
              <a:t> Upcoming Opportunities of Interest to ESSI Teams </a:t>
            </a:r>
          </a:p>
          <a:p>
            <a:pPr marL="742950" lvl="1" indent="-285750">
              <a:spcBef>
                <a:spcPts val="500"/>
              </a:spcBef>
              <a:spcAft>
                <a:spcPts val="1000"/>
              </a:spcAft>
              <a:buFont typeface="Courier New,monospace"/>
              <a:buChar char="o"/>
            </a:pPr>
            <a:endParaRPr lang="en-US" sz="2800" dirty="0">
              <a:latin typeface="Aptos Display"/>
            </a:endParaRPr>
          </a:p>
        </p:txBody>
      </p:sp>
      <p:grpSp>
        <p:nvGrpSpPr>
          <p:cNvPr id="7" name="Group 27">
            <a:extLst>
              <a:ext uri="{FF2B5EF4-FFF2-40B4-BE49-F238E27FC236}">
                <a16:creationId xmlns:a16="http://schemas.microsoft.com/office/drawing/2014/main" id="{E2176F69-6A90-79BF-BE1A-647EEC25E5B6}"/>
              </a:ext>
            </a:extLst>
          </p:cNvPr>
          <p:cNvGrpSpPr/>
          <p:nvPr/>
        </p:nvGrpSpPr>
        <p:grpSpPr>
          <a:xfrm>
            <a:off x="-415216" y="-654827"/>
            <a:ext cx="1368800" cy="1368800"/>
            <a:chOff x="0" y="0"/>
            <a:chExt cx="812800" cy="812800"/>
          </a:xfrm>
        </p:grpSpPr>
        <p:sp>
          <p:nvSpPr>
            <p:cNvPr id="5" name="Freeform 28">
              <a:extLst>
                <a:ext uri="{FF2B5EF4-FFF2-40B4-BE49-F238E27FC236}">
                  <a16:creationId xmlns:a16="http://schemas.microsoft.com/office/drawing/2014/main" id="{293A4BD0-ADF6-D907-7D01-9A0EC913C33B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" name="TextBox 29">
              <a:extLst>
                <a:ext uri="{FF2B5EF4-FFF2-40B4-BE49-F238E27FC236}">
                  <a16:creationId xmlns:a16="http://schemas.microsoft.com/office/drawing/2014/main" id="{D6B07960-BA62-1FF2-41F2-10CDCFC99DF9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8" name="Group 27">
            <a:extLst>
              <a:ext uri="{FF2B5EF4-FFF2-40B4-BE49-F238E27FC236}">
                <a16:creationId xmlns:a16="http://schemas.microsoft.com/office/drawing/2014/main" id="{EAB6171E-B389-19EF-475C-7DFC8285AD27}"/>
              </a:ext>
            </a:extLst>
          </p:cNvPr>
          <p:cNvGrpSpPr/>
          <p:nvPr/>
        </p:nvGrpSpPr>
        <p:grpSpPr>
          <a:xfrm>
            <a:off x="9609154" y="906164"/>
            <a:ext cx="1368800" cy="1368800"/>
            <a:chOff x="0" y="0"/>
            <a:chExt cx="812800" cy="812800"/>
          </a:xfrm>
        </p:grpSpPr>
        <p:sp>
          <p:nvSpPr>
            <p:cNvPr id="9" name="Freeform 28">
              <a:extLst>
                <a:ext uri="{FF2B5EF4-FFF2-40B4-BE49-F238E27FC236}">
                  <a16:creationId xmlns:a16="http://schemas.microsoft.com/office/drawing/2014/main" id="{CC9F8EAA-EC69-50AE-9585-3DE094AE2F30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TextBox 29">
              <a:extLst>
                <a:ext uri="{FF2B5EF4-FFF2-40B4-BE49-F238E27FC236}">
                  <a16:creationId xmlns:a16="http://schemas.microsoft.com/office/drawing/2014/main" id="{48DF3E86-0462-C737-A26E-7B5C3372F5C4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14" name="Group 27">
            <a:extLst>
              <a:ext uri="{FF2B5EF4-FFF2-40B4-BE49-F238E27FC236}">
                <a16:creationId xmlns:a16="http://schemas.microsoft.com/office/drawing/2014/main" id="{2DF12F63-3431-2654-C666-E4B652452F80}"/>
              </a:ext>
            </a:extLst>
          </p:cNvPr>
          <p:cNvGrpSpPr/>
          <p:nvPr/>
        </p:nvGrpSpPr>
        <p:grpSpPr>
          <a:xfrm>
            <a:off x="11281115" y="5818474"/>
            <a:ext cx="1368800" cy="1368800"/>
            <a:chOff x="0" y="0"/>
            <a:chExt cx="812800" cy="812800"/>
          </a:xfrm>
        </p:grpSpPr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16305E8F-6DF3-2D08-8BEF-A689BDE654F3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TextBox 29">
              <a:extLst>
                <a:ext uri="{FF2B5EF4-FFF2-40B4-BE49-F238E27FC236}">
                  <a16:creationId xmlns:a16="http://schemas.microsoft.com/office/drawing/2014/main" id="{54C6D955-875D-85C4-889E-D42517C6668E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</p:spTree>
    <p:extLst>
      <p:ext uri="{BB962C8B-B14F-4D97-AF65-F5344CB8AC3E}">
        <p14:creationId xmlns:p14="http://schemas.microsoft.com/office/powerpoint/2010/main" val="228295964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6CCC82-BC5B-3678-6E4E-3347383200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0000" y="720000"/>
            <a:ext cx="4451897" cy="752400"/>
          </a:xfrm>
        </p:spPr>
        <p:txBody>
          <a:bodyPr/>
          <a:lstStyle/>
          <a:p>
            <a:r>
              <a:rPr lang="en-US">
                <a:solidFill>
                  <a:schemeClr val="tx1">
                    <a:lumMod val="49000"/>
                  </a:schemeClr>
                </a:solidFill>
              </a:rPr>
              <a:t>SCREENING TOOL EXAMPL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308D22-303C-4AE2-577A-0D07E7824EB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60000" y="2111246"/>
            <a:ext cx="4998000" cy="3200400"/>
          </a:xfrm>
        </p:spPr>
        <p:txBody>
          <a:bodyPr/>
          <a:lstStyle/>
          <a:p>
            <a:r>
              <a:rPr lang="en-US" sz="2800"/>
              <a:t>Boston Medical Center -</a:t>
            </a:r>
          </a:p>
          <a:p>
            <a:r>
              <a:rPr lang="en-US" sz="2800"/>
              <a:t>Thrive Screening</a:t>
            </a:r>
            <a:endParaRPr lang="en-US"/>
          </a:p>
        </p:txBody>
      </p:sp>
      <p:pic>
        <p:nvPicPr>
          <p:cNvPr id="5" name="Picture 4" descr="A medical screening form with black text&#10;&#10;Description automatically generated">
            <a:extLst>
              <a:ext uri="{FF2B5EF4-FFF2-40B4-BE49-F238E27FC236}">
                <a16:creationId xmlns:a16="http://schemas.microsoft.com/office/drawing/2014/main" id="{28A946E1-376F-7DF7-CF81-5AF1A26D020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48518" y="149438"/>
            <a:ext cx="5011401" cy="6571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594131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39A933-38D7-A385-4954-8F8BD59009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0000" y="801643"/>
            <a:ext cx="4298464" cy="752400"/>
          </a:xfrm>
        </p:spPr>
        <p:txBody>
          <a:bodyPr/>
          <a:lstStyle/>
          <a:p>
            <a:r>
              <a:rPr lang="en-US">
                <a:solidFill>
                  <a:schemeClr val="tx1">
                    <a:lumMod val="49000"/>
                  </a:schemeClr>
                </a:solidFill>
              </a:rPr>
              <a:t>SCREENING TOOL EXAMPL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A335346-08AE-F3AD-4C04-667F8E7C820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60000" y="2152067"/>
            <a:ext cx="4998000" cy="3200400"/>
          </a:xfrm>
        </p:spPr>
        <p:txBody>
          <a:bodyPr/>
          <a:lstStyle/>
          <a:p>
            <a:r>
              <a:rPr lang="en-US" sz="2800"/>
              <a:t>WE CARE by Dr. Arvin Garg</a:t>
            </a:r>
          </a:p>
        </p:txBody>
      </p:sp>
      <p:pic>
        <p:nvPicPr>
          <p:cNvPr id="5" name="Picture 4" descr="A questionnaire with black and white text&#10;&#10;Description automatically generated">
            <a:extLst>
              <a:ext uri="{FF2B5EF4-FFF2-40B4-BE49-F238E27FC236}">
                <a16:creationId xmlns:a16="http://schemas.microsoft.com/office/drawing/2014/main" id="{CF500F58-77D6-282C-54EA-54F8696E98D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95051" y="419101"/>
            <a:ext cx="4635255" cy="6019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939856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2C951-B6E6-4F43-CFE3-092C75C955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tx1">
                    <a:lumMod val="49000"/>
                  </a:schemeClr>
                </a:solidFill>
              </a:rPr>
              <a:t>Adaptation OF EXISTING SCREENING TOOL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03F894-A66C-896E-7DA1-5B74D6328E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60000" y="1990608"/>
            <a:ext cx="6403758" cy="3414203"/>
          </a:xfrm>
        </p:spPr>
        <p:txBody>
          <a:bodyPr/>
          <a:lstStyle/>
          <a:p>
            <a:pPr marL="482600" indent="-342900">
              <a:buFont typeface="Arial"/>
              <a:buChar char="•"/>
            </a:pPr>
            <a:r>
              <a:rPr lang="en-US" sz="2000"/>
              <a:t>Is there a tool available?</a:t>
            </a:r>
            <a:endParaRPr lang="en-US"/>
          </a:p>
          <a:p>
            <a:pPr marL="482600" indent="-342900">
              <a:buFont typeface="Arial"/>
              <a:buChar char="•"/>
            </a:pPr>
            <a:r>
              <a:rPr lang="en-US" sz="2000"/>
              <a:t>Does the current tool assess the domains we feel are relevant?</a:t>
            </a:r>
          </a:p>
          <a:p>
            <a:pPr marL="482600" indent="-342900">
              <a:buFont typeface="Arial"/>
              <a:buChar char="•"/>
            </a:pPr>
            <a:r>
              <a:rPr lang="en-US" sz="2000"/>
              <a:t>Does the tool assess risks and/or needs we feels are relevant?</a:t>
            </a:r>
          </a:p>
          <a:p>
            <a:pPr marL="482600" indent="-342900">
              <a:buFont typeface="Arial"/>
              <a:buChar char="•"/>
            </a:pPr>
            <a:r>
              <a:rPr lang="en-US" sz="2000"/>
              <a:t>Is it the right length?</a:t>
            </a:r>
          </a:p>
          <a:p>
            <a:pPr marL="482600" indent="-342900">
              <a:buFont typeface="Arial"/>
              <a:buChar char="•"/>
            </a:pPr>
            <a:r>
              <a:rPr lang="en-US" sz="2000"/>
              <a:t>Is it available in multiple languages?</a:t>
            </a:r>
          </a:p>
          <a:p>
            <a:pPr marL="482600" indent="-342900">
              <a:buFont typeface="Arial"/>
              <a:buChar char="•"/>
            </a:pPr>
            <a:r>
              <a:rPr lang="en-US" sz="2000"/>
              <a:t>Does the survey target the entire household?</a:t>
            </a:r>
          </a:p>
          <a:p>
            <a:pPr marL="482600" indent="-342900">
              <a:buFont typeface="Arial"/>
              <a:buChar char="•"/>
            </a:pPr>
            <a:r>
              <a:rPr lang="en-US" sz="2000"/>
              <a:t>Can we align screening with available resources?</a:t>
            </a:r>
          </a:p>
        </p:txBody>
      </p:sp>
    </p:spTree>
    <p:extLst>
      <p:ext uri="{BB962C8B-B14F-4D97-AF65-F5344CB8AC3E}">
        <p14:creationId xmlns:p14="http://schemas.microsoft.com/office/powerpoint/2010/main" val="208198847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5214FFC-4377-D93C-BCD8-75AF6E46A352}"/>
              </a:ext>
            </a:extLst>
          </p:cNvPr>
          <p:cNvSpPr txBox="1">
            <a:spLocks/>
          </p:cNvSpPr>
          <p:nvPr/>
        </p:nvSpPr>
        <p:spPr>
          <a:xfrm>
            <a:off x="362701" y="241181"/>
            <a:ext cx="10260249" cy="535686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4000" kern="0">
                <a:latin typeface="Bebas Neue"/>
              </a:rPr>
              <a:t>Integration of screening into ELECTRONIC HEALTH RECORD</a:t>
            </a:r>
            <a:endParaRPr lang="en-US" sz="4000" err="1"/>
          </a:p>
        </p:txBody>
      </p:sp>
      <p:sp>
        <p:nvSpPr>
          <p:cNvPr id="6" name="Google Shape;332;p37">
            <a:extLst>
              <a:ext uri="{FF2B5EF4-FFF2-40B4-BE49-F238E27FC236}">
                <a16:creationId xmlns:a16="http://schemas.microsoft.com/office/drawing/2014/main" id="{70D665E0-E0B7-1670-888E-2D603B5A0049}"/>
              </a:ext>
            </a:extLst>
          </p:cNvPr>
          <p:cNvSpPr txBox="1">
            <a:spLocks/>
          </p:cNvSpPr>
          <p:nvPr/>
        </p:nvSpPr>
        <p:spPr>
          <a:xfrm>
            <a:off x="482524" y="5543842"/>
            <a:ext cx="7254114" cy="1012239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rgbClr val="42424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" sz="2200" kern="0">
                <a:latin typeface="Barlow Medium"/>
              </a:rPr>
              <a:t>How are social risks/needs and referrals documented in other departments? Is it feasible to tailor the documentation/display to your unit's needs?</a:t>
            </a:r>
            <a:endParaRPr lang="en" sz="2200" kern="0">
              <a:latin typeface="Bebas Neue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07CB8D6-D2C5-6B6C-6CDE-425A2A528AE7}"/>
              </a:ext>
            </a:extLst>
          </p:cNvPr>
          <p:cNvSpPr txBox="1"/>
          <p:nvPr/>
        </p:nvSpPr>
        <p:spPr>
          <a:xfrm>
            <a:off x="1144150" y="3830707"/>
            <a:ext cx="3267512" cy="163121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2000">
                <a:latin typeface="Barlow Medium"/>
                <a:cs typeface="Arial"/>
              </a:rPr>
              <a:t>Physically scanned</a:t>
            </a:r>
          </a:p>
          <a:p>
            <a:pPr marL="285750" indent="-285750">
              <a:buFont typeface="Arial"/>
              <a:buChar char="•"/>
            </a:pPr>
            <a:r>
              <a:rPr lang="en-US" sz="2000">
                <a:latin typeface="Barlow Medium"/>
                <a:cs typeface="Arial"/>
              </a:rPr>
              <a:t>Manually entered</a:t>
            </a:r>
          </a:p>
          <a:p>
            <a:pPr marL="285750" indent="-285750">
              <a:buFont typeface="Arial"/>
              <a:buChar char="•"/>
            </a:pPr>
            <a:r>
              <a:rPr lang="en-US" sz="2000">
                <a:latin typeface="Barlow Medium"/>
                <a:cs typeface="Arial"/>
              </a:rPr>
              <a:t>Electronically transferred</a:t>
            </a:r>
          </a:p>
          <a:p>
            <a:pPr marL="285750" indent="-285750">
              <a:buFont typeface="Arial"/>
              <a:buChar char="•"/>
            </a:pPr>
            <a:r>
              <a:rPr lang="en-US" sz="2000">
                <a:latin typeface="Barlow Medium"/>
                <a:cs typeface="Arial"/>
              </a:rPr>
              <a:t>Uploaded</a:t>
            </a:r>
          </a:p>
        </p:txBody>
      </p:sp>
      <p:sp>
        <p:nvSpPr>
          <p:cNvPr id="7" name="Google Shape;332;p37">
            <a:extLst>
              <a:ext uri="{FF2B5EF4-FFF2-40B4-BE49-F238E27FC236}">
                <a16:creationId xmlns:a16="http://schemas.microsoft.com/office/drawing/2014/main" id="{1CB56235-B8F6-97F9-B117-C6A049B393AC}"/>
              </a:ext>
            </a:extLst>
          </p:cNvPr>
          <p:cNvSpPr txBox="1">
            <a:spLocks/>
          </p:cNvSpPr>
          <p:nvPr/>
        </p:nvSpPr>
        <p:spPr>
          <a:xfrm>
            <a:off x="225734" y="1072083"/>
            <a:ext cx="11798244" cy="1599952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rgbClr val="42424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42900" indent="-342900">
              <a:buChar char="•"/>
            </a:pPr>
            <a:r>
              <a:rPr lang="en" sz="2200" kern="0" dirty="0">
                <a:latin typeface="Barlow Medium"/>
              </a:rPr>
              <a:t>Documenting SDOH screening in the EHR </a:t>
            </a:r>
            <a:endParaRPr lang="en-US"/>
          </a:p>
          <a:p>
            <a:pPr marL="800100" lvl="1" indent="-342900">
              <a:buFont typeface="Courier New"/>
              <a:buChar char="o"/>
            </a:pPr>
            <a:r>
              <a:rPr lang="en" sz="2200" kern="0" dirty="0">
                <a:latin typeface="Barlow Medium"/>
              </a:rPr>
              <a:t>Facilitates tracking of screening and referral </a:t>
            </a:r>
            <a:endParaRPr lang="en-US" sz="1850"/>
          </a:p>
          <a:p>
            <a:pPr marL="800100" lvl="1" indent="-342900">
              <a:buFont typeface="Courier New"/>
              <a:buChar char="o"/>
            </a:pPr>
            <a:r>
              <a:rPr lang="en" sz="2200" kern="0" dirty="0">
                <a:latin typeface="Barlow Medium"/>
              </a:rPr>
              <a:t>Allows for communication among all staff interacting with the family unit</a:t>
            </a:r>
            <a:endParaRPr lang="en" dirty="0"/>
          </a:p>
          <a:p>
            <a:pPr marL="800100" lvl="1" indent="-342900">
              <a:buFont typeface="Courier New"/>
              <a:buChar char="o"/>
            </a:pPr>
            <a:endParaRPr lang="en" sz="2200" kern="0">
              <a:latin typeface="Barlow Medium"/>
            </a:endParaRPr>
          </a:p>
        </p:txBody>
      </p:sp>
      <p:sp>
        <p:nvSpPr>
          <p:cNvPr id="9" name="Freeform 17">
            <a:extLst>
              <a:ext uri="{FF2B5EF4-FFF2-40B4-BE49-F238E27FC236}">
                <a16:creationId xmlns:a16="http://schemas.microsoft.com/office/drawing/2014/main" id="{A449E9D4-7D29-5125-AB8D-E7F9CD01B90D}"/>
              </a:ext>
            </a:extLst>
          </p:cNvPr>
          <p:cNvSpPr/>
          <p:nvPr/>
        </p:nvSpPr>
        <p:spPr>
          <a:xfrm>
            <a:off x="8359219" y="4947503"/>
            <a:ext cx="3031384" cy="594886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80"/>
                </a:lnTo>
                <a:lnTo>
                  <a:pt x="0" y="78078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2" name="TextBox 18">
            <a:extLst>
              <a:ext uri="{FF2B5EF4-FFF2-40B4-BE49-F238E27FC236}">
                <a16:creationId xmlns:a16="http://schemas.microsoft.com/office/drawing/2014/main" id="{BF15038C-0DB8-80FD-7BB7-0BDE5302A0D2}"/>
              </a:ext>
            </a:extLst>
          </p:cNvPr>
          <p:cNvSpPr txBox="1"/>
          <p:nvPr/>
        </p:nvSpPr>
        <p:spPr>
          <a:xfrm>
            <a:off x="8860537" y="5129744"/>
            <a:ext cx="1951417" cy="3002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READINESS</a:t>
            </a:r>
          </a:p>
        </p:txBody>
      </p:sp>
      <p:sp>
        <p:nvSpPr>
          <p:cNvPr id="14" name="Freeform 19">
            <a:extLst>
              <a:ext uri="{FF2B5EF4-FFF2-40B4-BE49-F238E27FC236}">
                <a16:creationId xmlns:a16="http://schemas.microsoft.com/office/drawing/2014/main" id="{41D017B2-B7DB-64AF-F35D-33971393E92A}"/>
              </a:ext>
            </a:extLst>
          </p:cNvPr>
          <p:cNvSpPr/>
          <p:nvPr/>
        </p:nvSpPr>
        <p:spPr>
          <a:xfrm>
            <a:off x="8366618" y="5714294"/>
            <a:ext cx="3031384" cy="613648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79"/>
                </a:lnTo>
                <a:lnTo>
                  <a:pt x="0" y="780779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6" name="TextBox 20">
            <a:extLst>
              <a:ext uri="{FF2B5EF4-FFF2-40B4-BE49-F238E27FC236}">
                <a16:creationId xmlns:a16="http://schemas.microsoft.com/office/drawing/2014/main" id="{4F6FA750-D600-A7F8-A591-0E6DE298E2EC}"/>
              </a:ext>
            </a:extLst>
          </p:cNvPr>
          <p:cNvSpPr txBox="1"/>
          <p:nvPr/>
        </p:nvSpPr>
        <p:spPr>
          <a:xfrm>
            <a:off x="8309979" y="5899157"/>
            <a:ext cx="3087891" cy="3002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TRANSFER OF CARE</a:t>
            </a:r>
          </a:p>
        </p:txBody>
      </p:sp>
      <p:sp>
        <p:nvSpPr>
          <p:cNvPr id="18" name="Freeform 21">
            <a:extLst>
              <a:ext uri="{FF2B5EF4-FFF2-40B4-BE49-F238E27FC236}">
                <a16:creationId xmlns:a16="http://schemas.microsoft.com/office/drawing/2014/main" id="{20CCC6BD-B38D-C164-31BB-44A87D5BBDB8}"/>
              </a:ext>
            </a:extLst>
          </p:cNvPr>
          <p:cNvSpPr/>
          <p:nvPr/>
        </p:nvSpPr>
        <p:spPr>
          <a:xfrm>
            <a:off x="8361420" y="4147957"/>
            <a:ext cx="3029184" cy="594512"/>
          </a:xfrm>
          <a:custGeom>
            <a:avLst/>
            <a:gdLst/>
            <a:ahLst/>
            <a:cxnLst/>
            <a:rect l="l" t="t" r="r" b="b"/>
            <a:pathLst>
              <a:path w="4589522" h="780219">
                <a:moveTo>
                  <a:pt x="0" y="0"/>
                </a:moveTo>
                <a:lnTo>
                  <a:pt x="4589521" y="0"/>
                </a:lnTo>
                <a:lnTo>
                  <a:pt x="4589521" y="780218"/>
                </a:lnTo>
                <a:lnTo>
                  <a:pt x="0" y="780218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0" name="TextBox 24">
            <a:extLst>
              <a:ext uri="{FF2B5EF4-FFF2-40B4-BE49-F238E27FC236}">
                <a16:creationId xmlns:a16="http://schemas.microsoft.com/office/drawing/2014/main" id="{01D5E1E8-DF42-36EA-A05B-5D151569EDA2}"/>
              </a:ext>
            </a:extLst>
          </p:cNvPr>
          <p:cNvSpPr txBox="1"/>
          <p:nvPr/>
        </p:nvSpPr>
        <p:spPr>
          <a:xfrm>
            <a:off x="8961245" y="4330062"/>
            <a:ext cx="1874115" cy="30426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AWARENESS</a:t>
            </a:r>
          </a:p>
        </p:txBody>
      </p:sp>
      <p:sp>
        <p:nvSpPr>
          <p:cNvPr id="21" name="Google Shape;332;p37">
            <a:extLst>
              <a:ext uri="{FF2B5EF4-FFF2-40B4-BE49-F238E27FC236}">
                <a16:creationId xmlns:a16="http://schemas.microsoft.com/office/drawing/2014/main" id="{CA9F8E64-4987-5610-FD48-CB68C553940D}"/>
              </a:ext>
            </a:extLst>
          </p:cNvPr>
          <p:cNvSpPr txBox="1">
            <a:spLocks/>
          </p:cNvSpPr>
          <p:nvPr/>
        </p:nvSpPr>
        <p:spPr>
          <a:xfrm>
            <a:off x="232101" y="3425744"/>
            <a:ext cx="8146442" cy="322022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rgbClr val="42424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" sz="2800" kern="0">
                <a:latin typeface="Barlow Medium"/>
              </a:rPr>
              <a:t>How does your information get into your EHR?</a:t>
            </a:r>
            <a:endParaRPr lang="en-US" sz="280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2B0348C-0020-5255-DDFA-BC47C7B0C8D0}"/>
              </a:ext>
            </a:extLst>
          </p:cNvPr>
          <p:cNvSpPr txBox="1"/>
          <p:nvPr/>
        </p:nvSpPr>
        <p:spPr>
          <a:xfrm>
            <a:off x="8087563" y="5703416"/>
            <a:ext cx="3589089" cy="638402"/>
          </a:xfrm>
          <a:prstGeom prst="rect">
            <a:avLst/>
          </a:prstGeom>
          <a:noFill/>
          <a:ln w="57150">
            <a:solidFill>
              <a:schemeClr val="accent4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DD15B67-AE07-3D41-DA2C-E975F938DCC1}"/>
              </a:ext>
            </a:extLst>
          </p:cNvPr>
          <p:cNvSpPr txBox="1"/>
          <p:nvPr/>
        </p:nvSpPr>
        <p:spPr>
          <a:xfrm>
            <a:off x="8066685" y="4899663"/>
            <a:ext cx="3589089" cy="638402"/>
          </a:xfrm>
          <a:prstGeom prst="rect">
            <a:avLst/>
          </a:prstGeom>
          <a:noFill/>
          <a:ln w="57150">
            <a:solidFill>
              <a:schemeClr val="accent4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  <p:sp>
        <p:nvSpPr>
          <p:cNvPr id="8" name="Star: 5 Points 7">
            <a:extLst>
              <a:ext uri="{FF2B5EF4-FFF2-40B4-BE49-F238E27FC236}">
                <a16:creationId xmlns:a16="http://schemas.microsoft.com/office/drawing/2014/main" id="{7898226B-733B-8DD1-7DC1-605C7DFDE0D0}"/>
              </a:ext>
            </a:extLst>
          </p:cNvPr>
          <p:cNvSpPr/>
          <p:nvPr/>
        </p:nvSpPr>
        <p:spPr>
          <a:xfrm>
            <a:off x="11397456" y="4578138"/>
            <a:ext cx="627529" cy="522941"/>
          </a:xfrm>
          <a:prstGeom prst="star5">
            <a:avLst/>
          </a:prstGeom>
          <a:solidFill>
            <a:srgbClr val="FFFF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Star: 5 Points 23">
            <a:extLst>
              <a:ext uri="{FF2B5EF4-FFF2-40B4-BE49-F238E27FC236}">
                <a16:creationId xmlns:a16="http://schemas.microsoft.com/office/drawing/2014/main" id="{35636469-AB17-10CE-A3C7-6EE414CA4CFA}"/>
              </a:ext>
            </a:extLst>
          </p:cNvPr>
          <p:cNvSpPr/>
          <p:nvPr/>
        </p:nvSpPr>
        <p:spPr>
          <a:xfrm>
            <a:off x="7754470" y="5423646"/>
            <a:ext cx="627529" cy="522941"/>
          </a:xfrm>
          <a:prstGeom prst="star5">
            <a:avLst/>
          </a:prstGeom>
          <a:solidFill>
            <a:srgbClr val="FFFF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36259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5214FFC-4377-D93C-BCD8-75AF6E46A352}"/>
              </a:ext>
            </a:extLst>
          </p:cNvPr>
          <p:cNvSpPr txBox="1">
            <a:spLocks/>
          </p:cNvSpPr>
          <p:nvPr/>
        </p:nvSpPr>
        <p:spPr>
          <a:xfrm>
            <a:off x="362701" y="241181"/>
            <a:ext cx="10457317" cy="535686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4000" kern="0">
                <a:latin typeface="Bebas Neue"/>
              </a:rPr>
              <a:t>Integration of Screening into ELECTRONIC HEALTH RECORD</a:t>
            </a:r>
            <a:endParaRPr lang="en-US" sz="4000" err="1"/>
          </a:p>
        </p:txBody>
      </p:sp>
      <p:sp>
        <p:nvSpPr>
          <p:cNvPr id="13" name="Google Shape;332;p37">
            <a:extLst>
              <a:ext uri="{FF2B5EF4-FFF2-40B4-BE49-F238E27FC236}">
                <a16:creationId xmlns:a16="http://schemas.microsoft.com/office/drawing/2014/main" id="{27D002BC-9023-DF5B-08E9-870E8D33EEF7}"/>
              </a:ext>
            </a:extLst>
          </p:cNvPr>
          <p:cNvSpPr txBox="1">
            <a:spLocks/>
          </p:cNvSpPr>
          <p:nvPr/>
        </p:nvSpPr>
        <p:spPr>
          <a:xfrm>
            <a:off x="7043289" y="2092138"/>
            <a:ext cx="4709453" cy="1935029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rgbClr val="42424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Char char="•"/>
            </a:pPr>
            <a:r>
              <a:rPr lang="en" sz="2200" kern="0">
                <a:latin typeface="Barlow Medium"/>
              </a:rPr>
              <a:t>Need to be in a location that can be viewed by all staff,</a:t>
            </a:r>
            <a:r>
              <a:rPr lang="en" sz="2200" b="1" kern="0">
                <a:latin typeface="Barlow Medium"/>
              </a:rPr>
              <a:t> </a:t>
            </a:r>
            <a:r>
              <a:rPr lang="en" sz="2200" kern="0">
                <a:latin typeface="Barlow Medium"/>
              </a:rPr>
              <a:t>not only the social worker</a:t>
            </a:r>
            <a:endParaRPr lang="en-US"/>
          </a:p>
          <a:p>
            <a:pPr marL="800100" lvl="1" indent="-342900">
              <a:buFont typeface="Courier New"/>
              <a:buChar char="o"/>
            </a:pPr>
            <a:r>
              <a:rPr lang="en" sz="2200" b="1" kern="0">
                <a:latin typeface="Barlow Medium"/>
              </a:rPr>
              <a:t>Consider side banner</a:t>
            </a:r>
          </a:p>
        </p:txBody>
      </p:sp>
      <p:pic>
        <p:nvPicPr>
          <p:cNvPr id="14" name="Picture 13" descr="A screenshot of a chart review&#10;&#10;Description automatically generated">
            <a:extLst>
              <a:ext uri="{FF2B5EF4-FFF2-40B4-BE49-F238E27FC236}">
                <a16:creationId xmlns:a16="http://schemas.microsoft.com/office/drawing/2014/main" id="{D5729752-6072-44C7-355E-87429E32A00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4689" y="779505"/>
            <a:ext cx="6508318" cy="5603846"/>
          </a:xfrm>
          <a:prstGeom prst="rect">
            <a:avLst/>
          </a:prstGeom>
        </p:spPr>
      </p:pic>
      <p:sp>
        <p:nvSpPr>
          <p:cNvPr id="15" name="Google Shape;332;p37">
            <a:extLst>
              <a:ext uri="{FF2B5EF4-FFF2-40B4-BE49-F238E27FC236}">
                <a16:creationId xmlns:a16="http://schemas.microsoft.com/office/drawing/2014/main" id="{664FD48A-1201-429E-C238-10AC9E6AEACB}"/>
              </a:ext>
            </a:extLst>
          </p:cNvPr>
          <p:cNvSpPr txBox="1">
            <a:spLocks/>
          </p:cNvSpPr>
          <p:nvPr/>
        </p:nvSpPr>
        <p:spPr>
          <a:xfrm>
            <a:off x="7476719" y="1036523"/>
            <a:ext cx="3842591" cy="648716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rgbClr val="42424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" sz="2200" i="1" kern="0">
                <a:latin typeface="Barlow Medium"/>
              </a:rPr>
              <a:t>Considerations:</a:t>
            </a:r>
          </a:p>
        </p:txBody>
      </p:sp>
      <p:sp>
        <p:nvSpPr>
          <p:cNvPr id="3" name="Google Shape;269;p34">
            <a:extLst>
              <a:ext uri="{FF2B5EF4-FFF2-40B4-BE49-F238E27FC236}">
                <a16:creationId xmlns:a16="http://schemas.microsoft.com/office/drawing/2014/main" id="{937E16E8-3DBE-1BA4-8AB5-1E27159C71EA}"/>
              </a:ext>
            </a:extLst>
          </p:cNvPr>
          <p:cNvSpPr txBox="1">
            <a:spLocks/>
          </p:cNvSpPr>
          <p:nvPr/>
        </p:nvSpPr>
        <p:spPr>
          <a:xfrm>
            <a:off x="3354" y="6607247"/>
            <a:ext cx="11413483" cy="172163"/>
          </a:xfrm>
          <a:prstGeom prst="rect">
            <a:avLst/>
          </a:prstGeom>
          <a:noFill/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" sz="1400" kern="0">
                <a:latin typeface="Barlow Medium"/>
              </a:rPr>
              <a:t>Example from Parker </a:t>
            </a:r>
            <a:r>
              <a:rPr lang="en" sz="1400" kern="0" err="1">
                <a:latin typeface="Barlow Medium"/>
              </a:rPr>
              <a:t>et.al's</a:t>
            </a:r>
            <a:r>
              <a:rPr lang="en" sz="1400" kern="0">
                <a:latin typeface="Barlow Medium"/>
              </a:rPr>
              <a:t> "</a:t>
            </a:r>
            <a:r>
              <a:rPr lang="en" sz="1400" b="1">
                <a:solidFill>
                  <a:srgbClr val="303235"/>
                </a:solidFill>
                <a:latin typeface="Barlow Medium"/>
              </a:rPr>
              <a:t>Implementing Social Risk Screening and Referral to Resources in the NICU"</a:t>
            </a:r>
            <a:endParaRPr lang="en-US" sz="1400" err="1">
              <a:latin typeface="Barlow Medium"/>
            </a:endParaRPr>
          </a:p>
          <a:p>
            <a:endParaRPr lang="en" sz="2200" kern="0">
              <a:latin typeface="Barlow Medium"/>
            </a:endParaRPr>
          </a:p>
        </p:txBody>
      </p:sp>
      <p:pic>
        <p:nvPicPr>
          <p:cNvPr id="5" name="Graphic 4" descr="Arrow Right with solid fill">
            <a:extLst>
              <a:ext uri="{FF2B5EF4-FFF2-40B4-BE49-F238E27FC236}">
                <a16:creationId xmlns:a16="http://schemas.microsoft.com/office/drawing/2014/main" id="{4DEBC27E-5DC0-2916-7C39-751BC63101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3590489" y="4530754"/>
            <a:ext cx="1319868" cy="914400"/>
          </a:xfrm>
          <a:prstGeom prst="rect">
            <a:avLst/>
          </a:prstGeom>
        </p:spPr>
      </p:pic>
      <p:sp>
        <p:nvSpPr>
          <p:cNvPr id="6" name="Google Shape;332;p37">
            <a:extLst>
              <a:ext uri="{FF2B5EF4-FFF2-40B4-BE49-F238E27FC236}">
                <a16:creationId xmlns:a16="http://schemas.microsoft.com/office/drawing/2014/main" id="{24BAFD30-EB52-955E-B798-03A59DD5F159}"/>
              </a:ext>
            </a:extLst>
          </p:cNvPr>
          <p:cNvSpPr txBox="1">
            <a:spLocks/>
          </p:cNvSpPr>
          <p:nvPr/>
        </p:nvSpPr>
        <p:spPr>
          <a:xfrm>
            <a:off x="5442389" y="4699717"/>
            <a:ext cx="6310352" cy="571817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rgbClr val="42424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" sz="2200" kern="0">
                <a:latin typeface="Barlow Medium"/>
              </a:rPr>
              <a:t>Documentation of referral is also</a:t>
            </a:r>
            <a:r>
              <a:rPr lang="en" sz="2200" i="1" kern="0">
                <a:latin typeface="Barlow Medium"/>
              </a:rPr>
              <a:t> </a:t>
            </a:r>
            <a:r>
              <a:rPr lang="en" sz="2200" kern="0">
                <a:latin typeface="Barlow Medium"/>
              </a:rPr>
              <a:t>seen in chart.</a:t>
            </a:r>
          </a:p>
        </p:txBody>
      </p:sp>
    </p:spTree>
    <p:extLst>
      <p:ext uri="{BB962C8B-B14F-4D97-AF65-F5344CB8AC3E}">
        <p14:creationId xmlns:p14="http://schemas.microsoft.com/office/powerpoint/2010/main" val="288929490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5214FFC-4377-D93C-BCD8-75AF6E46A352}"/>
              </a:ext>
            </a:extLst>
          </p:cNvPr>
          <p:cNvSpPr txBox="1">
            <a:spLocks/>
          </p:cNvSpPr>
          <p:nvPr/>
        </p:nvSpPr>
        <p:spPr>
          <a:xfrm>
            <a:off x="362701" y="241181"/>
            <a:ext cx="9947284" cy="535686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4000" kern="0">
                <a:latin typeface="Bebas Neue"/>
              </a:rPr>
              <a:t>Integrating SCREENING into ELECTRONIC HEALTH RECORD</a:t>
            </a:r>
            <a:endParaRPr lang="en-US" sz="4000" err="1"/>
          </a:p>
        </p:txBody>
      </p:sp>
      <p:sp>
        <p:nvSpPr>
          <p:cNvPr id="13" name="Google Shape;332;p37">
            <a:extLst>
              <a:ext uri="{FF2B5EF4-FFF2-40B4-BE49-F238E27FC236}">
                <a16:creationId xmlns:a16="http://schemas.microsoft.com/office/drawing/2014/main" id="{27D002BC-9023-DF5B-08E9-870E8D33EEF7}"/>
              </a:ext>
            </a:extLst>
          </p:cNvPr>
          <p:cNvSpPr txBox="1">
            <a:spLocks/>
          </p:cNvSpPr>
          <p:nvPr/>
        </p:nvSpPr>
        <p:spPr>
          <a:xfrm>
            <a:off x="367050" y="4867497"/>
            <a:ext cx="9190572" cy="1592478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rgbClr val="42424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/>
              <a:buChar char="•"/>
            </a:pPr>
            <a:r>
              <a:rPr lang="en" sz="2200" kern="0">
                <a:latin typeface="Barlow Medium"/>
              </a:rPr>
              <a:t>To be able to differentiate between </a:t>
            </a:r>
            <a:r>
              <a:rPr lang="en" sz="2200" i="1" kern="0">
                <a:latin typeface="Barlow Medium"/>
              </a:rPr>
              <a:t>low risk </a:t>
            </a:r>
            <a:r>
              <a:rPr lang="en" sz="2200" kern="0">
                <a:latin typeface="Barlow Medium"/>
              </a:rPr>
              <a:t>and </a:t>
            </a:r>
            <a:r>
              <a:rPr lang="en" sz="2200" i="1" kern="0">
                <a:latin typeface="Barlow Medium"/>
              </a:rPr>
              <a:t>not assessed </a:t>
            </a:r>
          </a:p>
          <a:p>
            <a:pPr marL="342900" indent="-342900">
              <a:buFont typeface="Arial"/>
              <a:buChar char="•"/>
            </a:pPr>
            <a:r>
              <a:rPr lang="en" sz="2200" kern="0">
                <a:latin typeface="Barlow Medium"/>
              </a:rPr>
              <a:t>Document the date of screening</a:t>
            </a:r>
          </a:p>
          <a:p>
            <a:pPr marL="800100" lvl="1" indent="-342900">
              <a:buFont typeface="Courier New"/>
              <a:buChar char="o"/>
            </a:pPr>
            <a:r>
              <a:rPr lang="en" sz="2200" kern="0">
                <a:latin typeface="Barlow Medium"/>
              </a:rPr>
              <a:t>Helps determine whether to screen again or using current information</a:t>
            </a:r>
            <a:endParaRPr lang="en">
              <a:cs typeface="Arial"/>
            </a:endParaRPr>
          </a:p>
        </p:txBody>
      </p:sp>
      <p:sp>
        <p:nvSpPr>
          <p:cNvPr id="15" name="Google Shape;332;p37">
            <a:extLst>
              <a:ext uri="{FF2B5EF4-FFF2-40B4-BE49-F238E27FC236}">
                <a16:creationId xmlns:a16="http://schemas.microsoft.com/office/drawing/2014/main" id="{664FD48A-1201-429E-C238-10AC9E6AEACB}"/>
              </a:ext>
            </a:extLst>
          </p:cNvPr>
          <p:cNvSpPr txBox="1">
            <a:spLocks/>
          </p:cNvSpPr>
          <p:nvPr/>
        </p:nvSpPr>
        <p:spPr>
          <a:xfrm>
            <a:off x="365051" y="4096506"/>
            <a:ext cx="3842591" cy="648716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rgbClr val="42424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" sz="2200" i="1" kern="0">
                <a:latin typeface="Barlow Medium"/>
              </a:rPr>
              <a:t>Considerations:</a:t>
            </a:r>
          </a:p>
        </p:txBody>
      </p:sp>
      <p:pic>
        <p:nvPicPr>
          <p:cNvPr id="2" name="Picture 1" descr="A screenshot of a computer&#10;&#10;Description automatically generated">
            <a:extLst>
              <a:ext uri="{FF2B5EF4-FFF2-40B4-BE49-F238E27FC236}">
                <a16:creationId xmlns:a16="http://schemas.microsoft.com/office/drawing/2014/main" id="{B7C94364-A39E-F5EF-96EB-10C7957A31E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6178" y="878742"/>
            <a:ext cx="11737590" cy="321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28019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059166-89C2-8C94-2AE7-2D38B1300B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>
                <a:solidFill>
                  <a:srgbClr val="000000"/>
                </a:solidFill>
              </a:rPr>
              <a:t>Other considera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EB78F9-3E3D-5CB6-2FCF-29D333DEB0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60000" y="2022919"/>
            <a:ext cx="10272000" cy="2619767"/>
          </a:xfrm>
        </p:spPr>
        <p:txBody>
          <a:bodyPr/>
          <a:lstStyle/>
          <a:p>
            <a:pPr marL="800100" lvl="1" indent="-342900">
              <a:buFont typeface="Courier New,monospace"/>
              <a:buChar char="o"/>
            </a:pPr>
            <a:r>
              <a:rPr lang="en" sz="2200" dirty="0">
                <a:solidFill>
                  <a:srgbClr val="000000"/>
                </a:solidFill>
              </a:rPr>
              <a:t>Need for linkage between birthing parent and the infant in the EHR</a:t>
            </a:r>
            <a:endParaRPr lang="en" sz="2200" dirty="0">
              <a:solidFill>
                <a:srgbClr val="424245"/>
              </a:solidFill>
            </a:endParaRPr>
          </a:p>
          <a:p>
            <a:pPr marL="800100" lvl="1" indent="-342900">
              <a:buFont typeface="Courier New,monospace"/>
              <a:buChar char="o"/>
            </a:pPr>
            <a:r>
              <a:rPr lang="en" sz="2200" dirty="0">
                <a:solidFill>
                  <a:srgbClr val="000000"/>
                </a:solidFill>
              </a:rPr>
              <a:t>Screening results completed during birthing parent's admission made visible in the infant's chart and vice versa</a:t>
            </a:r>
          </a:p>
          <a:p>
            <a:pPr marL="800100" lvl="1" indent="-342900">
              <a:lnSpc>
                <a:spcPct val="114999"/>
              </a:lnSpc>
              <a:buFont typeface="Courier New,monospace"/>
              <a:buChar char="o"/>
            </a:pPr>
            <a:r>
              <a:rPr lang="en" sz="2200" dirty="0">
                <a:solidFill>
                  <a:srgbClr val="000000"/>
                </a:solidFill>
              </a:rPr>
              <a:t>Information provided in preferred language</a:t>
            </a:r>
          </a:p>
          <a:p>
            <a:pPr marL="800100" lvl="1" indent="-342900">
              <a:lnSpc>
                <a:spcPct val="114999"/>
              </a:lnSpc>
              <a:buFont typeface="Courier New,monospace"/>
              <a:buChar char="o"/>
            </a:pPr>
            <a:r>
              <a:rPr lang="en" sz="2200" dirty="0">
                <a:solidFill>
                  <a:srgbClr val="000000"/>
                </a:solidFill>
              </a:rPr>
              <a:t>Leverage of the EHR for resource mapping</a:t>
            </a:r>
          </a:p>
          <a:p>
            <a:pPr marL="800100" lvl="1" indent="-342900">
              <a:lnSpc>
                <a:spcPct val="114999"/>
              </a:lnSpc>
              <a:buFont typeface="Courier New,monospace"/>
              <a:buChar char="o"/>
            </a:pPr>
            <a:r>
              <a:rPr lang="en" sz="2200" dirty="0">
                <a:solidFill>
                  <a:srgbClr val="000000"/>
                </a:solidFill>
              </a:rPr>
              <a:t>Passage of information to outpatient provider and across encounters</a:t>
            </a:r>
          </a:p>
        </p:txBody>
      </p:sp>
    </p:spTree>
    <p:extLst>
      <p:ext uri="{BB962C8B-B14F-4D97-AF65-F5344CB8AC3E}">
        <p14:creationId xmlns:p14="http://schemas.microsoft.com/office/powerpoint/2010/main" val="297945333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EFE7B78-067A-B235-65DF-04A3EA0B604A}"/>
              </a:ext>
            </a:extLst>
          </p:cNvPr>
          <p:cNvSpPr txBox="1">
            <a:spLocks/>
          </p:cNvSpPr>
          <p:nvPr/>
        </p:nvSpPr>
        <p:spPr>
          <a:xfrm>
            <a:off x="516499" y="276135"/>
            <a:ext cx="4664095" cy="738419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3600" kern="0">
                <a:latin typeface="Bebas Neue"/>
              </a:rPr>
              <a:t>TEAM TALK: EDWARD HOSPIT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00514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1CFC75D-98E5-D9DD-3600-E3670D29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34662" y="2459421"/>
            <a:ext cx="9096703" cy="2617076"/>
          </a:xfrm>
        </p:spPr>
        <p:txBody>
          <a:bodyPr>
            <a:normAutofit/>
          </a:bodyPr>
          <a:lstStyle/>
          <a:p>
            <a:r>
              <a:rPr lang="en-US" sz="4800" dirty="0"/>
              <a:t>Equitable Safe Sleep Initiative </a:t>
            </a:r>
            <a:br>
              <a:rPr lang="en-US" sz="4800" dirty="0"/>
            </a:br>
            <a:r>
              <a:rPr lang="en-US" sz="4800" dirty="0"/>
              <a:t>and </a:t>
            </a:r>
            <a:br>
              <a:rPr lang="en-US" sz="4800" dirty="0"/>
            </a:br>
            <a:r>
              <a:rPr lang="en-US" sz="4800" dirty="0"/>
              <a:t>Social Determinants of Healt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6AB8EB-0236-79BF-4DDD-18E1B0533F7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9296400" y="6356350"/>
            <a:ext cx="2743200" cy="365125"/>
          </a:xfrm>
        </p:spPr>
        <p:txBody>
          <a:bodyPr/>
          <a:lstStyle/>
          <a:p>
            <a:fld id="{3D539ECA-5BAE-4EA9-A408-88BD88CDCDCD}" type="slidenum">
              <a:rPr lang="en-US" smtClean="0"/>
              <a:pPr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16813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A6B53D8-9613-5E07-64F1-9DFC8E3F8A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539ECA-5BAE-4EA9-A408-88BD88CDCDCD}" type="slidenum">
              <a:rPr lang="en-US" smtClean="0"/>
              <a:t>39</a:t>
            </a:fld>
            <a:endParaRPr lang="en-US"/>
          </a:p>
        </p:txBody>
      </p:sp>
      <p:sp>
        <p:nvSpPr>
          <p:cNvPr id="42" name="Title 41">
            <a:extLst>
              <a:ext uri="{FF2B5EF4-FFF2-40B4-BE49-F238E27FC236}">
                <a16:creationId xmlns:a16="http://schemas.microsoft.com/office/drawing/2014/main" id="{38E942CC-EA8A-7A71-C919-FE1268AD14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dward Hospital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5B0F9242-1872-11E0-30C0-DFE4AA8235F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87926" y="1914717"/>
            <a:ext cx="10965873" cy="3468772"/>
          </a:xfrm>
        </p:spPr>
        <p:txBody>
          <a:bodyPr/>
          <a:lstStyle/>
          <a:p>
            <a:r>
              <a:rPr lang="en-US" dirty="0"/>
              <a:t>Naperville, IL</a:t>
            </a:r>
          </a:p>
          <a:p>
            <a:r>
              <a:rPr lang="en-US" dirty="0"/>
              <a:t>Perinatal Level III</a:t>
            </a:r>
          </a:p>
          <a:p>
            <a:r>
              <a:rPr lang="en-US" dirty="0"/>
              <a:t>Birth Volume: ~3500 deliveries per year</a:t>
            </a:r>
          </a:p>
          <a:p>
            <a:r>
              <a:rPr lang="en-US" dirty="0"/>
              <a:t>Units participating in ESSI:</a:t>
            </a:r>
          </a:p>
          <a:p>
            <a:pPr lvl="1"/>
            <a:r>
              <a:rPr lang="en-US" dirty="0"/>
              <a:t>L&amp;D, Mother-Baby, NICU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3C76861-F34F-7EE2-2EA1-33E7CFE0AC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571111" y="81141"/>
            <a:ext cx="3331134" cy="221272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03D3C93-B64E-A2F8-37B6-9E97684B38B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974"/>
          <a:stretch/>
        </p:blipFill>
        <p:spPr>
          <a:xfrm>
            <a:off x="7134354" y="1124679"/>
            <a:ext cx="5269402" cy="5040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6681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ack grid with white squares&#10;&#10;Description automatically generated">
            <a:extLst>
              <a:ext uri="{FF2B5EF4-FFF2-40B4-BE49-F238E27FC236}">
                <a16:creationId xmlns:a16="http://schemas.microsoft.com/office/drawing/2014/main" id="{0C9EB722-627E-C2D1-C3F2-3B71B084D4C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76561" y="-46462"/>
            <a:ext cx="12619462" cy="6904463"/>
          </a:xfrm>
          <a:prstGeom prst="rect">
            <a:avLst/>
          </a:prstGeom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4883840-FDEC-E449-F7BA-E78CCEC4DD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250" y="57789"/>
            <a:ext cx="10972800" cy="1325563"/>
          </a:xfrm>
        </p:spPr>
        <p:txBody>
          <a:bodyPr/>
          <a:lstStyle/>
          <a:p>
            <a:r>
              <a:rPr lang="en-US" b="1">
                <a:solidFill>
                  <a:srgbClr val="1C498B"/>
                </a:solidFill>
                <a:ea typeface="+mj-lt"/>
                <a:cs typeface="+mj-lt"/>
              </a:rPr>
              <a:t>ESSI ABP MOC Part IV </a:t>
            </a:r>
            <a:endParaRPr lang="en-US" b="1">
              <a:solidFill>
                <a:srgbClr val="1C498B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26C49D-BF42-418D-9693-93ADFAD52C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53248"/>
            <a:ext cx="8466524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200">
                <a:ea typeface="+mn-lt"/>
                <a:cs typeface="+mn-lt"/>
              </a:rPr>
              <a:t>Complete an attestation form if you are an ABP-certified physician seeking </a:t>
            </a:r>
            <a:r>
              <a:rPr lang="en-US" sz="2200">
                <a:highlight>
                  <a:srgbClr val="FFFF00"/>
                </a:highlight>
                <a:ea typeface="+mn-lt"/>
                <a:cs typeface="+mn-lt"/>
              </a:rPr>
              <a:t>25 credits</a:t>
            </a:r>
            <a:r>
              <a:rPr lang="en-US" sz="2200">
                <a:ea typeface="+mn-lt"/>
                <a:cs typeface="+mn-lt"/>
              </a:rPr>
              <a:t> under </a:t>
            </a:r>
            <a:r>
              <a:rPr lang="en-US" sz="2200" b="1">
                <a:ea typeface="+mn-lt"/>
                <a:cs typeface="+mn-lt"/>
              </a:rPr>
              <a:t>MOC Part IV</a:t>
            </a:r>
            <a:endParaRPr lang="en-US" sz="2200" b="1"/>
          </a:p>
          <a:p>
            <a:r>
              <a:rPr lang="en-US" sz="2200">
                <a:ea typeface="+mn-lt"/>
                <a:cs typeface="+mn-lt"/>
              </a:rPr>
              <a:t>Submit the attestation form to your QI project leader for signature and send back to </a:t>
            </a:r>
            <a:r>
              <a:rPr lang="en-US" sz="2200">
                <a:ea typeface="+mn-lt"/>
                <a:cs typeface="+mn-lt"/>
                <a:hlinkClick r:id="rId3"/>
              </a:rPr>
              <a:t>info@ilpqc.org</a:t>
            </a:r>
            <a:r>
              <a:rPr lang="en-US" sz="2200">
                <a:ea typeface="+mn-lt"/>
                <a:cs typeface="+mn-lt"/>
              </a:rPr>
              <a:t> for credit in 2024 </a:t>
            </a:r>
            <a:endParaRPr lang="en-US" sz="2200"/>
          </a:p>
          <a:p>
            <a:r>
              <a:rPr lang="en-US" sz="2200" i="1">
                <a:ea typeface="+mn-lt"/>
                <a:cs typeface="+mn-lt"/>
              </a:rPr>
              <a:t>You can start submitting the attestation form in October. </a:t>
            </a:r>
          </a:p>
          <a:p>
            <a:pPr marL="0" indent="0">
              <a:buNone/>
            </a:pPr>
            <a:endParaRPr lang="en-US" sz="2200">
              <a:ea typeface="+mn-lt"/>
              <a:cs typeface="+mn-lt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200">
                <a:ea typeface="+mn-lt"/>
                <a:cs typeface="+mn-lt"/>
              </a:rPr>
              <a:t>Attestation of Meaningful Participation:</a:t>
            </a:r>
            <a:endParaRPr lang="en-US" sz="2200"/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ea typeface="+mn-lt"/>
                <a:cs typeface="+mn-lt"/>
              </a:rPr>
              <a:t>Intellectually engaged in planning and executing the project</a:t>
            </a:r>
            <a:endParaRPr lang="en-US" sz="2200"/>
          </a:p>
          <a:p>
            <a:pPr lvl="1">
              <a:spcAft>
                <a:spcPts val="0"/>
              </a:spcAft>
            </a:pPr>
            <a:r>
              <a:rPr lang="en-US" sz="2200">
                <a:ea typeface="+mn-lt"/>
                <a:cs typeface="+mn-lt"/>
              </a:rPr>
              <a:t>Participated in implementing the project’s interventions - the changes designed to improve care</a:t>
            </a:r>
            <a:endParaRPr lang="en-US" sz="2200"/>
          </a:p>
          <a:p>
            <a:pPr lvl="1">
              <a:spcAft>
                <a:spcPts val="0"/>
              </a:spcAft>
            </a:pPr>
            <a:r>
              <a:rPr lang="en-US" sz="2200">
                <a:ea typeface="+mn-lt"/>
                <a:cs typeface="+mn-lt"/>
              </a:rPr>
              <a:t>Regularly reviewed data in keeping with the project’s measurement plan</a:t>
            </a:r>
            <a:endParaRPr lang="en-US" sz="2200"/>
          </a:p>
          <a:p>
            <a:pPr lvl="1"/>
            <a:r>
              <a:rPr lang="en-US" sz="2200">
                <a:ea typeface="+mn-lt"/>
                <a:cs typeface="+mn-lt"/>
              </a:rPr>
              <a:t>Collaborated in the activity by attending team meetings </a:t>
            </a:r>
            <a:endParaRPr lang="en-US" sz="2200"/>
          </a:p>
          <a:p>
            <a:endParaRPr lang="en-US" sz="18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F35830-C5FE-E5C4-C61D-410AD9C7A32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dirty="0" smtClean="0"/>
              <a:pPr/>
              <a:t>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78B19A-05AA-8C14-5B7B-8A35C6FAC9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6" name="Picture 6" descr="Doctor holding sign">
            <a:extLst>
              <a:ext uri="{FF2B5EF4-FFF2-40B4-BE49-F238E27FC236}">
                <a16:creationId xmlns:a16="http://schemas.microsoft.com/office/drawing/2014/main" id="{C8696215-900E-969A-3473-1717E6CDA9C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3207" y="1894043"/>
            <a:ext cx="2994102" cy="425338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16805E0-89D4-BF27-D15D-32B88E416414}"/>
              </a:ext>
            </a:extLst>
          </p:cNvPr>
          <p:cNvSpPr txBox="1"/>
          <p:nvPr/>
        </p:nvSpPr>
        <p:spPr>
          <a:xfrm>
            <a:off x="9171578" y="3192566"/>
            <a:ext cx="2220950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400" b="1">
                <a:latin typeface="Cavolini"/>
                <a:cs typeface="Calibri"/>
              </a:rPr>
              <a:t>Claim your credits!</a:t>
            </a:r>
            <a:endParaRPr lang="en-US" sz="2400">
              <a:latin typeface="Cavolin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3354318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9B169FC-67D3-D3FC-6250-64CAABFEB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539ECA-5BAE-4EA9-A408-88BD88CDCDCD}" type="slidenum">
              <a:rPr lang="en-US" smtClean="0"/>
              <a:t>4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C51F90F-19CA-F2B5-2C39-65FE99B8A1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DOH Screening Process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13A710E8-E08E-6358-6213-0735C6AB9C8B}"/>
              </a:ext>
            </a:extLst>
          </p:cNvPr>
          <p:cNvGraphicFramePr/>
          <p:nvPr/>
        </p:nvGraphicFramePr>
        <p:xfrm>
          <a:off x="387927" y="1282188"/>
          <a:ext cx="10965873" cy="46141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7940348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FBE08FE-9972-34CE-3B74-C9743CAFE3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539ECA-5BAE-4EA9-A408-88BD88CDCDCD}" type="slidenum">
              <a:rPr lang="en-US" smtClean="0"/>
              <a:t>4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4C55BDB-A7F3-745E-FF61-851FD6D861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DOH Domain or Topic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D81E21-BC6B-B9F4-CD26-A7DF4DD27F7B}"/>
              </a:ext>
            </a:extLst>
          </p:cNvPr>
          <p:cNvSpPr/>
          <p:nvPr/>
        </p:nvSpPr>
        <p:spPr>
          <a:xfrm>
            <a:off x="5712195" y="2389721"/>
            <a:ext cx="6085461" cy="292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A screenshot of a computer&#10;&#10;Description automatically generated">
            <a:extLst>
              <a:ext uri="{FF2B5EF4-FFF2-40B4-BE49-F238E27FC236}">
                <a16:creationId xmlns:a16="http://schemas.microsoft.com/office/drawing/2014/main" id="{59D9D6D4-714D-6BB9-5F09-FC174F9E67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344" y="1267904"/>
            <a:ext cx="2848373" cy="2829320"/>
          </a:xfrm>
          <a:prstGeom prst="rect">
            <a:avLst/>
          </a:prstGeom>
        </p:spPr>
      </p:pic>
      <p:pic>
        <p:nvPicPr>
          <p:cNvPr id="12" name="Picture 11" descr="A list of information on a white background&#10;&#10;Description automatically generated">
            <a:extLst>
              <a:ext uri="{FF2B5EF4-FFF2-40B4-BE49-F238E27FC236}">
                <a16:creationId xmlns:a16="http://schemas.microsoft.com/office/drawing/2014/main" id="{889CBF08-B339-17E5-7803-773E7F8281F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927" y="3969591"/>
            <a:ext cx="2668660" cy="2283673"/>
          </a:xfrm>
          <a:prstGeom prst="rect">
            <a:avLst/>
          </a:prstGeom>
        </p:spPr>
      </p:pic>
      <p:pic>
        <p:nvPicPr>
          <p:cNvPr id="14" name="Picture 13" descr="A screenshot of a chat&#10;&#10;Description automatically generated">
            <a:extLst>
              <a:ext uri="{FF2B5EF4-FFF2-40B4-BE49-F238E27FC236}">
                <a16:creationId xmlns:a16="http://schemas.microsoft.com/office/drawing/2014/main" id="{BDF42DB2-67E0-E84A-251E-CB81A2FBCA1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829" r="20271"/>
          <a:stretch/>
        </p:blipFill>
        <p:spPr>
          <a:xfrm>
            <a:off x="3380463" y="1507787"/>
            <a:ext cx="8068991" cy="4870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091239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A6D275-0802-9F72-4AA7-901253FBA2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539ECA-5BAE-4EA9-A408-88BD88CDCDCD}" type="slidenum">
              <a:rPr lang="en-US" smtClean="0"/>
              <a:t>4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D24775C-73A2-4A3A-C9E2-6E27A0FC24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DOH Whe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3050656-D952-07AC-AC94-76D0E9CFDB3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33480"/>
            <a:ext cx="5679234" cy="3229584"/>
          </a:xfrm>
          <a:prstGeom prst="rect">
            <a:avLst/>
          </a:prstGeom>
        </p:spPr>
      </p:pic>
      <p:pic>
        <p:nvPicPr>
          <p:cNvPr id="9" name="Picture 8" descr="A screenshot of a computer&#10;&#10;Description automatically generated">
            <a:extLst>
              <a:ext uri="{FF2B5EF4-FFF2-40B4-BE49-F238E27FC236}">
                <a16:creationId xmlns:a16="http://schemas.microsoft.com/office/drawing/2014/main" id="{F8879FA1-8869-51D0-2A49-073803AE39A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5590" y="1263370"/>
            <a:ext cx="5889287" cy="3448975"/>
          </a:xfrm>
          <a:prstGeom prst="rect">
            <a:avLst/>
          </a:prstGeom>
        </p:spPr>
      </p:pic>
      <p:pic>
        <p:nvPicPr>
          <p:cNvPr id="5" name="Picture 4" descr="A screenshot of a video&#10;&#10;Description automatically generated">
            <a:extLst>
              <a:ext uri="{FF2B5EF4-FFF2-40B4-BE49-F238E27FC236}">
                <a16:creationId xmlns:a16="http://schemas.microsoft.com/office/drawing/2014/main" id="{5172CB46-6052-7EB5-17AD-BE156BAF4D5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1823" y="2506486"/>
            <a:ext cx="2464494" cy="2056578"/>
          </a:xfrm>
          <a:prstGeom prst="rect">
            <a:avLst/>
          </a:prstGeom>
        </p:spPr>
      </p:pic>
      <p:pic>
        <p:nvPicPr>
          <p:cNvPr id="8" name="Picture 7" descr="A close up of text&#10;&#10;Description automatically generated">
            <a:extLst>
              <a:ext uri="{FF2B5EF4-FFF2-40B4-BE49-F238E27FC236}">
                <a16:creationId xmlns:a16="http://schemas.microsoft.com/office/drawing/2014/main" id="{59710991-B9DF-4BAB-A394-88359ABD4DF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747" y="4988195"/>
            <a:ext cx="8058042" cy="1045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92355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7AC9B5A-8D15-E60E-157E-94F0A8FC3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539ECA-5BAE-4EA9-A408-88BD88CDCDCD}" type="slidenum">
              <a:rPr lang="en-US" smtClean="0"/>
              <a:t>4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EA680BA-7017-B76F-4348-CA8EB8E0C5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PA and Documentation</a:t>
            </a:r>
          </a:p>
        </p:txBody>
      </p:sp>
      <p:pic>
        <p:nvPicPr>
          <p:cNvPr id="5" name="Picture 4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7D71E7CA-562B-6E0E-95DA-A75DC359DBD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463"/>
          <a:stretch/>
        </p:blipFill>
        <p:spPr>
          <a:xfrm>
            <a:off x="117762" y="1206230"/>
            <a:ext cx="6325799" cy="1411240"/>
          </a:xfrm>
          <a:prstGeom prst="rect">
            <a:avLst/>
          </a:prstGeom>
        </p:spPr>
      </p:pic>
      <p:pic>
        <p:nvPicPr>
          <p:cNvPr id="10" name="Picture 9" descr="A screenshot of a computer&#10;&#10;Description automatically generated">
            <a:extLst>
              <a:ext uri="{FF2B5EF4-FFF2-40B4-BE49-F238E27FC236}">
                <a16:creationId xmlns:a16="http://schemas.microsoft.com/office/drawing/2014/main" id="{A3892E81-42F0-2008-EC99-77C2416C9AE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3850" y="2834243"/>
            <a:ext cx="7401991" cy="3270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74102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C1E20F8-A4A5-77E5-948F-08A57A155A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539ECA-5BAE-4EA9-A408-88BD88CDCDCD}" type="slidenum">
              <a:rPr lang="en-US" smtClean="0"/>
              <a:t>4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9B1550-8A0B-5351-5043-B8DCA91620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DOH Resourc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487363B-5B64-6472-F82E-8D2B1455E46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42" r="1961" b="1886"/>
          <a:stretch/>
        </p:blipFill>
        <p:spPr>
          <a:xfrm>
            <a:off x="4915463" y="77910"/>
            <a:ext cx="5181600" cy="6627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567658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52F522-3EB6-87E2-0276-FFC11BD7FAE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D539ECA-5BAE-4EA9-A408-88BD88CDCDCD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96348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EFE7B78-067A-B235-65DF-04A3EA0B604A}"/>
              </a:ext>
            </a:extLst>
          </p:cNvPr>
          <p:cNvSpPr txBox="1">
            <a:spLocks/>
          </p:cNvSpPr>
          <p:nvPr/>
        </p:nvSpPr>
        <p:spPr>
          <a:xfrm>
            <a:off x="407642" y="194492"/>
            <a:ext cx="3135850" cy="792847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4400" kern="0">
                <a:latin typeface="Bebas Neue"/>
              </a:rPr>
              <a:t>TO DO LIST</a:t>
            </a:r>
            <a:endParaRPr lang="en-US" sz="440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3028B30-EF98-667F-E7B8-DD0747D8E51B}"/>
              </a:ext>
            </a:extLst>
          </p:cNvPr>
          <p:cNvSpPr txBox="1">
            <a:spLocks/>
          </p:cNvSpPr>
          <p:nvPr/>
        </p:nvSpPr>
        <p:spPr>
          <a:xfrm>
            <a:off x="407641" y="1113182"/>
            <a:ext cx="11383776" cy="5563306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571500" indent="-571500">
              <a:buChar char="•"/>
            </a:pPr>
            <a:r>
              <a:rPr lang="en-US" sz="2500" kern="0">
                <a:latin typeface="Barlow Medium"/>
              </a:rPr>
              <a:t>Understand your current SDOH screening process and create a process flow diagram</a:t>
            </a:r>
            <a:endParaRPr lang="en-US"/>
          </a:p>
          <a:p>
            <a:pPr marL="1397000" lvl="2" indent="-342900">
              <a:buFont typeface="Wingdings"/>
              <a:buChar char="§"/>
            </a:pPr>
            <a:r>
              <a:rPr lang="en-US" sz="2000" kern="0">
                <a:solidFill>
                  <a:schemeClr val="bg2">
                    <a:lumMod val="10000"/>
                  </a:schemeClr>
                </a:solidFill>
                <a:latin typeface="Barlow Medium"/>
              </a:rPr>
              <a:t>What tool do we use? </a:t>
            </a:r>
          </a:p>
          <a:p>
            <a:pPr marL="1397000" lvl="2" indent="-342900">
              <a:buFont typeface="Wingdings"/>
              <a:buChar char="§"/>
            </a:pPr>
            <a:r>
              <a:rPr lang="en-US" sz="2000" kern="0">
                <a:solidFill>
                  <a:schemeClr val="bg2">
                    <a:lumMod val="10000"/>
                  </a:schemeClr>
                </a:solidFill>
                <a:latin typeface="Barlow Medium"/>
              </a:rPr>
              <a:t>Who screens?</a:t>
            </a:r>
          </a:p>
          <a:p>
            <a:pPr marL="1397000" lvl="2" indent="-342900">
              <a:buFont typeface="Wingdings"/>
              <a:buChar char="§"/>
            </a:pPr>
            <a:r>
              <a:rPr lang="en-US" sz="2000" kern="0">
                <a:solidFill>
                  <a:schemeClr val="bg2">
                    <a:lumMod val="10000"/>
                  </a:schemeClr>
                </a:solidFill>
                <a:latin typeface="Barlow Medium"/>
              </a:rPr>
              <a:t>When do we screen?</a:t>
            </a:r>
          </a:p>
          <a:p>
            <a:pPr marL="1397000" lvl="2" indent="-342900">
              <a:buFont typeface="Wingdings"/>
              <a:buChar char="§"/>
            </a:pPr>
            <a:r>
              <a:rPr lang="en-US" sz="2000" kern="0">
                <a:solidFill>
                  <a:schemeClr val="bg2">
                    <a:lumMod val="10000"/>
                  </a:schemeClr>
                </a:solidFill>
                <a:latin typeface="Barlow Medium"/>
              </a:rPr>
              <a:t>How does it get into the EHR?</a:t>
            </a:r>
          </a:p>
          <a:p>
            <a:pPr marL="1397000" lvl="2" indent="-342900">
              <a:buFont typeface="Wingdings"/>
              <a:buChar char="§"/>
            </a:pPr>
            <a:r>
              <a:rPr lang="en-US" sz="2000" kern="0">
                <a:solidFill>
                  <a:schemeClr val="bg2">
                    <a:lumMod val="10000"/>
                  </a:schemeClr>
                </a:solidFill>
                <a:latin typeface="Barlow Medium"/>
              </a:rPr>
              <a:t>Does the current tool assess the domains we feel are relevant?</a:t>
            </a:r>
          </a:p>
          <a:p>
            <a:pPr marL="1397000" lvl="2" indent="-342900">
              <a:buFont typeface="Wingdings"/>
              <a:buChar char="§"/>
            </a:pPr>
            <a:r>
              <a:rPr lang="en-US" sz="2000" kern="0">
                <a:solidFill>
                  <a:schemeClr val="bg2">
                    <a:lumMod val="10000"/>
                  </a:schemeClr>
                </a:solidFill>
                <a:latin typeface="Barlow Medium"/>
              </a:rPr>
              <a:t>Does the tool assess risks and/or needs we feels are relevant?</a:t>
            </a:r>
          </a:p>
          <a:p>
            <a:pPr marL="1397000" lvl="2" indent="-342900">
              <a:buFont typeface="Wingdings"/>
              <a:buChar char="§"/>
            </a:pPr>
            <a:r>
              <a:rPr lang="en-US" sz="2000" kern="0">
                <a:solidFill>
                  <a:schemeClr val="bg2">
                    <a:lumMod val="10000"/>
                  </a:schemeClr>
                </a:solidFill>
                <a:latin typeface="Barlow Medium"/>
              </a:rPr>
              <a:t>Is it the right length?</a:t>
            </a:r>
          </a:p>
          <a:p>
            <a:pPr marL="1397000" lvl="2" indent="-342900">
              <a:buFont typeface="Wingdings"/>
              <a:buChar char="§"/>
            </a:pPr>
            <a:r>
              <a:rPr lang="en-US" sz="2000" kern="0">
                <a:solidFill>
                  <a:schemeClr val="bg2">
                    <a:lumMod val="10000"/>
                  </a:schemeClr>
                </a:solidFill>
                <a:latin typeface="Barlow Medium"/>
              </a:rPr>
              <a:t>Is it available in multiple languages?</a:t>
            </a:r>
          </a:p>
          <a:p>
            <a:pPr marL="1397000" lvl="2" indent="-342900">
              <a:buFont typeface="Wingdings"/>
              <a:buChar char="§"/>
            </a:pPr>
            <a:r>
              <a:rPr lang="en-US" sz="2000" kern="0">
                <a:solidFill>
                  <a:schemeClr val="bg2">
                    <a:lumMod val="10000"/>
                  </a:schemeClr>
                </a:solidFill>
                <a:latin typeface="Barlow Medium"/>
              </a:rPr>
              <a:t>Does the survey target the entire household?</a:t>
            </a:r>
          </a:p>
          <a:p>
            <a:pPr marL="1397000" lvl="2" indent="-342900">
              <a:buFont typeface="Wingdings"/>
              <a:buChar char="§"/>
            </a:pPr>
            <a:r>
              <a:rPr lang="en-US" sz="2000" kern="0">
                <a:solidFill>
                  <a:schemeClr val="bg2">
                    <a:lumMod val="10000"/>
                  </a:schemeClr>
                </a:solidFill>
                <a:latin typeface="Barlow Medium"/>
              </a:rPr>
              <a:t>Can we align screening with available resources?</a:t>
            </a:r>
          </a:p>
          <a:p>
            <a:pPr marL="1397000" lvl="2" indent="-342900">
              <a:buFont typeface="Wingdings"/>
              <a:buChar char="§"/>
            </a:pPr>
            <a:r>
              <a:rPr lang="en-US" sz="2000" kern="0">
                <a:solidFill>
                  <a:schemeClr val="bg2">
                    <a:lumMod val="10000"/>
                  </a:schemeClr>
                </a:solidFill>
                <a:latin typeface="Barlow Medium"/>
              </a:rPr>
              <a:t>How can we integrate it into the EMR?</a:t>
            </a:r>
          </a:p>
          <a:p>
            <a:pPr marL="1397000" lvl="2" indent="-342900">
              <a:buFont typeface="Wingdings"/>
              <a:buChar char="§"/>
            </a:pPr>
            <a:r>
              <a:rPr lang="en-US" sz="2000" kern="0">
                <a:solidFill>
                  <a:schemeClr val="bg2">
                    <a:lumMod val="10000"/>
                  </a:schemeClr>
                </a:solidFill>
                <a:latin typeface="Barlow Medium"/>
              </a:rPr>
              <a:t>Who do we need to partner with?</a:t>
            </a:r>
          </a:p>
          <a:p>
            <a:pPr marL="1028700" lvl="1" indent="-571500">
              <a:buFont typeface="Courier New"/>
              <a:buChar char="o"/>
            </a:pPr>
            <a:r>
              <a:rPr lang="en-US" sz="2500" kern="0">
                <a:latin typeface="Barlow Medium"/>
              </a:rPr>
              <a:t>Come prepared to discuss your SDOH screening process at</a:t>
            </a:r>
            <a:r>
              <a:rPr lang="en-US" sz="2500" b="1" kern="0">
                <a:latin typeface="Barlow Medium"/>
              </a:rPr>
              <a:t> Annual Conference</a:t>
            </a:r>
            <a:endParaRPr lang="en-US"/>
          </a:p>
          <a:p>
            <a:pPr marL="571500" indent="-571500">
              <a:buChar char="•"/>
            </a:pPr>
            <a:endParaRPr lang="en-US" sz="2500" kern="0">
              <a:latin typeface="Barlow Medium"/>
            </a:endParaRPr>
          </a:p>
        </p:txBody>
      </p:sp>
    </p:spTree>
    <p:extLst>
      <p:ext uri="{BB962C8B-B14F-4D97-AF65-F5344CB8AC3E}">
        <p14:creationId xmlns:p14="http://schemas.microsoft.com/office/powerpoint/2010/main" val="125621098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1A18312-2267-D077-4CF4-388A579BCD7D}"/>
              </a:ext>
            </a:extLst>
          </p:cNvPr>
          <p:cNvSpPr txBox="1">
            <a:spLocks/>
          </p:cNvSpPr>
          <p:nvPr/>
        </p:nvSpPr>
        <p:spPr>
          <a:xfrm>
            <a:off x="150439" y="5792793"/>
            <a:ext cx="4092482" cy="974275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571500" indent="-571500">
              <a:buChar char="•"/>
            </a:pPr>
            <a:r>
              <a:rPr lang="en-US" sz="1800" kern="0">
                <a:latin typeface="Barlow Medium"/>
              </a:rPr>
              <a:t>Module 1: </a:t>
            </a:r>
            <a:r>
              <a:rPr lang="en-US" sz="1800">
                <a:solidFill>
                  <a:srgbClr val="373737"/>
                </a:solidFill>
                <a:latin typeface="Barlow Medium"/>
              </a:rPr>
              <a:t> 16 minutes</a:t>
            </a:r>
            <a:endParaRPr lang="en-US" sz="1800">
              <a:latin typeface="Barlow Medium"/>
            </a:endParaRPr>
          </a:p>
          <a:p>
            <a:pPr marL="571500" indent="-571500">
              <a:buChar char="•"/>
            </a:pPr>
            <a:r>
              <a:rPr lang="en-US" sz="1800" kern="0">
                <a:latin typeface="Barlow Medium"/>
              </a:rPr>
              <a:t>Module 2: 20 minutes</a:t>
            </a:r>
          </a:p>
          <a:p>
            <a:pPr marL="571500" indent="-571500">
              <a:buChar char="•"/>
            </a:pPr>
            <a:r>
              <a:rPr lang="en-US" sz="1800" kern="0">
                <a:latin typeface="Barlow Medium"/>
              </a:rPr>
              <a:t>Module 3: 11 minutes</a:t>
            </a:r>
          </a:p>
        </p:txBody>
      </p:sp>
      <p:pic>
        <p:nvPicPr>
          <p:cNvPr id="3" name="Picture 2" descr="A screenshot of a video&#10;&#10;Description automatically generated">
            <a:extLst>
              <a:ext uri="{FF2B5EF4-FFF2-40B4-BE49-F238E27FC236}">
                <a16:creationId xmlns:a16="http://schemas.microsoft.com/office/drawing/2014/main" id="{B32AC561-A288-3976-8517-89C72A57BF8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470" y="-7496"/>
            <a:ext cx="12191516" cy="5644663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60B4FC74-819E-5D64-5274-79B663F59061}"/>
              </a:ext>
            </a:extLst>
          </p:cNvPr>
          <p:cNvSpPr txBox="1">
            <a:spLocks/>
          </p:cNvSpPr>
          <p:nvPr/>
        </p:nvSpPr>
        <p:spPr>
          <a:xfrm>
            <a:off x="7942262" y="5792793"/>
            <a:ext cx="4092482" cy="974275"/>
          </a:xfrm>
          <a:prstGeom prst="rect">
            <a:avLst/>
          </a:prstGeom>
          <a:solidFill>
            <a:srgbClr val="FFFFFF">
              <a:alpha val="69050"/>
            </a:srgbClr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571500" indent="-571500">
              <a:buChar char="•"/>
            </a:pPr>
            <a:r>
              <a:rPr lang="en-US" sz="1800" kern="0">
                <a:latin typeface="Barlow Medium"/>
              </a:rPr>
              <a:t>Module 4: 14 minutes</a:t>
            </a:r>
            <a:endParaRPr lang="en-US" sz="1800">
              <a:solidFill>
                <a:srgbClr val="373737"/>
              </a:solidFill>
              <a:latin typeface="Barlow Medium"/>
            </a:endParaRPr>
          </a:p>
          <a:p>
            <a:pPr marL="571500" indent="-571500">
              <a:buChar char="•"/>
            </a:pPr>
            <a:r>
              <a:rPr lang="en-US" sz="1800" kern="0">
                <a:latin typeface="Barlow Medium"/>
              </a:rPr>
              <a:t>Module 5: 25 minutes</a:t>
            </a:r>
          </a:p>
          <a:p>
            <a:pPr marL="571500" indent="-571500">
              <a:buChar char="•"/>
            </a:pPr>
            <a:r>
              <a:rPr lang="en-US" sz="1800" kern="0">
                <a:latin typeface="Barlow Medium"/>
              </a:rPr>
              <a:t>Module 6: 20 minut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3519684-540E-C32A-10D1-170D374D8D7C}"/>
              </a:ext>
            </a:extLst>
          </p:cNvPr>
          <p:cNvSpPr txBox="1"/>
          <p:nvPr/>
        </p:nvSpPr>
        <p:spPr>
          <a:xfrm>
            <a:off x="367392" y="142875"/>
            <a:ext cx="5607503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latin typeface="Aptos Display"/>
                <a:cs typeface="Arial"/>
              </a:rPr>
              <a:t>Vermont Oxford Network (VON) Health Equity and Follow-Through Webinars</a:t>
            </a:r>
            <a:endParaRPr lang="en-US">
              <a:latin typeface="Aptos Display"/>
            </a:endParaRPr>
          </a:p>
        </p:txBody>
      </p:sp>
      <p:pic>
        <p:nvPicPr>
          <p:cNvPr id="4" name="Graphic 3" descr="Cursor with solid fill">
            <a:extLst>
              <a:ext uri="{FF2B5EF4-FFF2-40B4-BE49-F238E27FC236}">
                <a16:creationId xmlns:a16="http://schemas.microsoft.com/office/drawing/2014/main" id="{409AE545-540B-E661-F039-94393018192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-540000">
            <a:off x="3209924" y="372834"/>
            <a:ext cx="492579" cy="553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71918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DE3F33-C3B5-E055-DCEE-2F9C85028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22" y="383940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Data Collection Timelines</a:t>
            </a:r>
            <a:endParaRPr lang="en-US" b="1">
              <a:solidFill>
                <a:srgbClr val="1C498B"/>
              </a:solidFill>
              <a:latin typeface="DM San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FB859F-8E0E-956F-2CC7-6B79360725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56684"/>
            <a:ext cx="7007355" cy="4620279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00000"/>
              </a:lnSpc>
            </a:pPr>
            <a:endParaRPr lang="en-US" b="1">
              <a:latin typeface="DM Sans"/>
              <a:ea typeface="Lato"/>
              <a:cs typeface="Lato"/>
            </a:endParaRPr>
          </a:p>
          <a:p>
            <a:pPr>
              <a:lnSpc>
                <a:spcPct val="100000"/>
              </a:lnSpc>
            </a:pPr>
            <a:r>
              <a:rPr lang="en-US">
                <a:latin typeface="DM Sans"/>
                <a:ea typeface="Lato"/>
                <a:cs typeface="Calibri"/>
              </a:rPr>
              <a:t>Active initiative data, due on the final day of the following month:</a:t>
            </a:r>
          </a:p>
          <a:p>
            <a:pPr lvl="1">
              <a:lnSpc>
                <a:spcPct val="100000"/>
              </a:lnSpc>
              <a:buClr>
                <a:srgbClr val="1C498B"/>
              </a:buClr>
              <a:buFont typeface="Courier New,monospace" panose="020B0604020202020204" pitchFamily="34" charset="0"/>
              <a:buChar char="o"/>
            </a:pPr>
            <a:r>
              <a:rPr lang="en-US" b="1">
                <a:latin typeface="DM Sans"/>
                <a:ea typeface="Lato"/>
                <a:cs typeface="Calibri"/>
              </a:rPr>
              <a:t>July </a:t>
            </a:r>
            <a:r>
              <a:rPr lang="en-US">
                <a:latin typeface="DM Sans"/>
                <a:ea typeface="Lato"/>
                <a:cs typeface="Calibri"/>
              </a:rPr>
              <a:t>Data Due</a:t>
            </a:r>
            <a:r>
              <a:rPr lang="en-US" b="1">
                <a:solidFill>
                  <a:srgbClr val="FF0000"/>
                </a:solidFill>
                <a:latin typeface="DM Sans"/>
                <a:ea typeface="Lato"/>
                <a:cs typeface="Calibri"/>
              </a:rPr>
              <a:t> August 31st</a:t>
            </a:r>
          </a:p>
          <a:p>
            <a:pPr lvl="1">
              <a:lnSpc>
                <a:spcPct val="100000"/>
              </a:lnSpc>
              <a:buClr>
                <a:srgbClr val="1C498B"/>
              </a:buClr>
              <a:buFont typeface="Courier New,monospace" panose="020B0604020202020204" pitchFamily="34" charset="0"/>
              <a:buChar char="o"/>
            </a:pPr>
            <a:r>
              <a:rPr lang="en-US" b="1">
                <a:latin typeface="DM Sans"/>
                <a:ea typeface="Lato"/>
                <a:cs typeface="Calibri"/>
              </a:rPr>
              <a:t>August </a:t>
            </a:r>
            <a:r>
              <a:rPr lang="en-US">
                <a:latin typeface="DM Sans"/>
                <a:ea typeface="Lato"/>
                <a:cs typeface="Calibri"/>
              </a:rPr>
              <a:t>Data Due </a:t>
            </a:r>
            <a:r>
              <a:rPr lang="en-US" b="1">
                <a:solidFill>
                  <a:srgbClr val="FF0000"/>
                </a:solidFill>
                <a:latin typeface="DM Sans"/>
                <a:ea typeface="Lato"/>
                <a:cs typeface="Calibri"/>
              </a:rPr>
              <a:t>September 30th</a:t>
            </a:r>
          </a:p>
          <a:p>
            <a:pPr marL="457200" lvl="1" indent="0">
              <a:lnSpc>
                <a:spcPct val="100000"/>
              </a:lnSpc>
              <a:buClr>
                <a:srgbClr val="1C498B"/>
              </a:buClr>
              <a:buNone/>
            </a:pPr>
            <a:endParaRPr lang="en-US">
              <a:solidFill>
                <a:srgbClr val="000000"/>
              </a:solidFill>
              <a:latin typeface="DM Sans"/>
              <a:ea typeface="Lato"/>
              <a:cs typeface="Calibri"/>
            </a:endParaRPr>
          </a:p>
          <a:p>
            <a:pPr marL="0" indent="0" algn="ctr">
              <a:lnSpc>
                <a:spcPct val="100000"/>
              </a:lnSpc>
              <a:buNone/>
            </a:pPr>
            <a:endParaRPr lang="en-US" b="1">
              <a:solidFill>
                <a:srgbClr val="FF0000"/>
              </a:solidFill>
              <a:latin typeface="DM Sans"/>
              <a:ea typeface="Lato"/>
              <a:cs typeface="Lato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8FBD2C-EF0D-27DE-A30C-E3B2A26CD6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48</a:t>
            </a:fld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BEB7261-6CAD-A586-63E2-7EFA2E7C8857}"/>
              </a:ext>
            </a:extLst>
          </p:cNvPr>
          <p:cNvSpPr/>
          <p:nvPr/>
        </p:nvSpPr>
        <p:spPr>
          <a:xfrm>
            <a:off x="7953892" y="1399422"/>
            <a:ext cx="3950389" cy="4200386"/>
          </a:xfrm>
          <a:prstGeom prst="roundRect">
            <a:avLst/>
          </a:prstGeom>
          <a:solidFill>
            <a:srgbClr val="1C498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000" b="1">
                <a:latin typeface="DM Sans"/>
                <a:cs typeface="Calibri"/>
              </a:rPr>
              <a:t> Need clarification about ESSI Data? </a:t>
            </a:r>
            <a:endParaRPr lang="en-US" sz="3000">
              <a:latin typeface="DM Sans"/>
            </a:endParaRPr>
          </a:p>
          <a:p>
            <a:pPr algn="ctr"/>
            <a:r>
              <a:rPr lang="en-US" sz="3000" b="1">
                <a:latin typeface="DM Sans"/>
                <a:cs typeface="Calibri"/>
              </a:rPr>
              <a:t>Watch the ESSI Data training Webinar recording</a:t>
            </a:r>
            <a:endParaRPr lang="en-US" sz="3000">
              <a:latin typeface="DM Sans"/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D264C5B4-96BC-52D9-4761-56A7E9B3FF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Calibri"/>
                <a:cs typeface="Calibri"/>
              </a:rPr>
              <a:t>Illinois Perinatal Quality Collaborative</a:t>
            </a:r>
          </a:p>
        </p:txBody>
      </p:sp>
      <p:pic>
        <p:nvPicPr>
          <p:cNvPr id="5" name="Graphic 4" descr="Questions outline">
            <a:extLst>
              <a:ext uri="{FF2B5EF4-FFF2-40B4-BE49-F238E27FC236}">
                <a16:creationId xmlns:a16="http://schemas.microsoft.com/office/drawing/2014/main" id="{8B33EB59-604B-4C20-B41F-710AE570BE3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52800" y="580124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15361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F18D7A-43BA-6694-92BB-52CBF20609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553" y="362891"/>
            <a:ext cx="4633943" cy="1805344"/>
          </a:xfrm>
        </p:spPr>
        <p:txBody>
          <a:bodyPr/>
          <a:lstStyle/>
          <a:p>
            <a:r>
              <a:rPr lang="en-US" sz="2600">
                <a:latin typeface="Aptos Display"/>
                <a:ea typeface="Lato Medium"/>
                <a:cs typeface="Lato Medium"/>
              </a:rPr>
              <a:t>Diversity Science</a:t>
            </a:r>
            <a:br>
              <a:rPr lang="en-US" sz="2600">
                <a:latin typeface="Aptos Display"/>
                <a:ea typeface="Lato Medium"/>
                <a:cs typeface="Lato Medium"/>
              </a:rPr>
            </a:br>
            <a:r>
              <a:rPr lang="en-US" sz="2600" i="1">
                <a:latin typeface="Aptos Display"/>
                <a:ea typeface="Lato Medium"/>
                <a:cs typeface="Lato Medium"/>
              </a:rPr>
              <a:t>Dignity in Pregnancy &amp; Childbirth: Preventing Racial Bias in Perinatal Care</a:t>
            </a:r>
            <a:endParaRPr lang="en-US" sz="2600" i="1">
              <a:latin typeface="Aptos Display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CB37E0-D0DD-5D32-723C-8FFFF1B11D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8767" y="1727607"/>
            <a:ext cx="4824739" cy="4810351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endParaRPr lang="en-US" sz="2000">
              <a:latin typeface="Aptos Display"/>
            </a:endParaRPr>
          </a:p>
          <a:p>
            <a:r>
              <a:rPr lang="en-US" sz="2000">
                <a:solidFill>
                  <a:srgbClr val="0D2C4C"/>
                </a:solidFill>
                <a:latin typeface="Aptos Display"/>
                <a:ea typeface="+mn-lt"/>
                <a:cs typeface="+mn-lt"/>
              </a:rPr>
              <a:t>Diversity Science includes courses that empower clinicians, providers, and healthcare organizations to achieve their mission of providing bias-free, high-quality care to all patients.</a:t>
            </a:r>
            <a:endParaRPr lang="en-US" sz="2000">
              <a:latin typeface="Aptos Display"/>
              <a:ea typeface="Lato"/>
              <a:cs typeface="Lato"/>
            </a:endParaRPr>
          </a:p>
          <a:p>
            <a:r>
              <a:rPr lang="en-US" sz="2000">
                <a:latin typeface="Aptos Display"/>
                <a:ea typeface="Lato"/>
                <a:cs typeface="Lato"/>
              </a:rPr>
              <a:t>ILPQC has been able to work with Diversity Science to allow Hospital teams to integrate the modules in e-learning systems. </a:t>
            </a:r>
            <a:endParaRPr lang="en-US" sz="2000">
              <a:latin typeface="Aptos Display"/>
            </a:endParaRPr>
          </a:p>
          <a:p>
            <a:r>
              <a:rPr lang="en-US" sz="2000" b="1">
                <a:latin typeface="Aptos Display"/>
                <a:ea typeface="Lato"/>
                <a:cs typeface="Lato"/>
              </a:rPr>
              <a:t>Access our webpage </a:t>
            </a:r>
            <a:r>
              <a:rPr lang="en-US" sz="2000" b="1">
                <a:latin typeface="Aptos Display"/>
                <a:ea typeface="Lato"/>
                <a:cs typeface="Lato"/>
                <a:hlinkClick r:id="rId2"/>
              </a:rPr>
              <a:t>here.</a:t>
            </a:r>
            <a:endParaRPr lang="en-US" sz="2000" b="1">
              <a:latin typeface="Aptos Display"/>
            </a:endParaRPr>
          </a:p>
          <a:p>
            <a:endParaRPr lang="en-US" sz="2000" b="1">
              <a:latin typeface="Aptos Display"/>
            </a:endParaRPr>
          </a:p>
          <a:p>
            <a:endParaRPr lang="en-US" sz="2000" b="1">
              <a:latin typeface="Aptos Display"/>
            </a:endParaRPr>
          </a:p>
          <a:p>
            <a:endParaRPr lang="en-US" sz="2000">
              <a:latin typeface="Aptos Display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16904B-7A10-4CE1-1906-FAD29EAE9F6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dirty="0" smtClean="0"/>
              <a:pPr/>
              <a:t>4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8951A9-0E93-9EB9-E0A5-C488F50624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8" name="Picture 7" descr="A person and baby sleeping on a bed&#10;&#10;Description automatically generated">
            <a:extLst>
              <a:ext uri="{FF2B5EF4-FFF2-40B4-BE49-F238E27FC236}">
                <a16:creationId xmlns:a16="http://schemas.microsoft.com/office/drawing/2014/main" id="{93F40CAB-DA26-046C-9E5D-8CF183CAF6A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3669" y="-3191"/>
            <a:ext cx="6096000" cy="3696269"/>
          </a:xfrm>
          <a:prstGeom prst="rect">
            <a:avLst/>
          </a:prstGeom>
        </p:spPr>
      </p:pic>
      <p:pic>
        <p:nvPicPr>
          <p:cNvPr id="9" name="Picture 8" descr="A screenshot of a computer&#10;&#10;Description automatically generated">
            <a:extLst>
              <a:ext uri="{FF2B5EF4-FFF2-40B4-BE49-F238E27FC236}">
                <a16:creationId xmlns:a16="http://schemas.microsoft.com/office/drawing/2014/main" id="{7FE481BF-210A-B9DB-4091-552A3A49178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3866" y="4664199"/>
            <a:ext cx="6096000" cy="1694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28301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logo for a nurse week&#10;&#10;Description automatically generated">
            <a:extLst>
              <a:ext uri="{FF2B5EF4-FFF2-40B4-BE49-F238E27FC236}">
                <a16:creationId xmlns:a16="http://schemas.microsoft.com/office/drawing/2014/main" id="{D47F8CAB-5BAC-CC4F-9480-84649E8233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1641" y="719778"/>
            <a:ext cx="5411611" cy="5411611"/>
          </a:xfrm>
          <a:prstGeom prst="rect">
            <a:avLst/>
          </a:prstGeom>
          <a:ln>
            <a:noFill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141B677-E6AC-0652-EA32-1E1257ECAEE6}"/>
              </a:ext>
            </a:extLst>
          </p:cNvPr>
          <p:cNvSpPr txBox="1"/>
          <p:nvPr/>
        </p:nvSpPr>
        <p:spPr>
          <a:xfrm>
            <a:off x="2068169" y="5948501"/>
            <a:ext cx="3575754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/>
              <a:t>September 14th – 20th, 2024</a:t>
            </a:r>
          </a:p>
        </p:txBody>
      </p:sp>
      <p:pic>
        <p:nvPicPr>
          <p:cNvPr id="6" name="Picture 5" descr="A person holding a baby&#10;&#10;Description automatically generated">
            <a:extLst>
              <a:ext uri="{FF2B5EF4-FFF2-40B4-BE49-F238E27FC236}">
                <a16:creationId xmlns:a16="http://schemas.microsoft.com/office/drawing/2014/main" id="{45311B3E-A87C-035A-7297-92A78FA45BE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120" y="721004"/>
            <a:ext cx="4229100" cy="41148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76F65FC-4401-20CA-2FE3-C4CCC7A5EC77}"/>
              </a:ext>
            </a:extLst>
          </p:cNvPr>
          <p:cNvSpPr txBox="1"/>
          <p:nvPr/>
        </p:nvSpPr>
        <p:spPr>
          <a:xfrm>
            <a:off x="6096891" y="5285278"/>
            <a:ext cx="5791198" cy="107721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i="1" dirty="0">
                <a:ea typeface="+mn-lt"/>
                <a:cs typeface="+mn-lt"/>
              </a:rPr>
              <a:t>Neonatal Nurses Week provides an opportunity to celebrate the hard work and dedication of neonatal nurses. The contributions of these health care workers to the tiniest patients make a difference that lasts a lifetime for neonates and their families.</a:t>
            </a:r>
            <a:endParaRPr lang="en-US" sz="1600" i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4C88B15-E258-E405-EB74-52FE5ACD5A3C}"/>
              </a:ext>
            </a:extLst>
          </p:cNvPr>
          <p:cNvSpPr txBox="1"/>
          <p:nvPr/>
        </p:nvSpPr>
        <p:spPr>
          <a:xfrm>
            <a:off x="2068169" y="473390"/>
            <a:ext cx="5381976" cy="49244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600" b="1" dirty="0"/>
              <a:t>Thank a Neo Nurse!</a:t>
            </a:r>
            <a:endParaRPr lang="en-US" sz="2600" dirty="0"/>
          </a:p>
        </p:txBody>
      </p:sp>
    </p:spTree>
    <p:extLst>
      <p:ext uri="{BB962C8B-B14F-4D97-AF65-F5344CB8AC3E}">
        <p14:creationId xmlns:p14="http://schemas.microsoft.com/office/powerpoint/2010/main" val="32444785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ptos"/>
                <a:ea typeface="Lato Medium"/>
                <a:cs typeface="Lato Medium"/>
              </a:rPr>
              <a:t>Annual Confere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78480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Google Shape;370;p16"/>
          <p:cNvSpPr txBox="1">
            <a:spLocks noGrp="1"/>
          </p:cNvSpPr>
          <p:nvPr>
            <p:ph type="sldNum" sz="quarter" idx="4294967295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40" tIns="45720" rIns="91440" bIns="45720" rtlCol="0" anchor="ctr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EB3B7"/>
                </a:buClr>
                <a:buSzPts val="1200"/>
                <a:buFont typeface="Calibri"/>
                <a:buNone/>
                <a:tabLst/>
                <a:defRPr/>
              </a:pPr>
              <a:t>7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AEB3B7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Google Shape;368;p16">
            <a:extLst>
              <a:ext uri="{FF2B5EF4-FFF2-40B4-BE49-F238E27FC236}">
                <a16:creationId xmlns:a16="http://schemas.microsoft.com/office/drawing/2014/main" id="{4861B0C5-5C0A-19EB-150E-E95303EA0BBC}"/>
              </a:ext>
            </a:extLst>
          </p:cNvPr>
          <p:cNvSpPr txBox="1">
            <a:spLocks/>
          </p:cNvSpPr>
          <p:nvPr/>
        </p:nvSpPr>
        <p:spPr>
          <a:xfrm>
            <a:off x="3170572" y="5518904"/>
            <a:ext cx="6296859" cy="1332552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algn="ctr"/>
            <a:r>
              <a:rPr lang="en-US" sz="2600">
                <a:solidFill>
                  <a:schemeClr val="accent3"/>
                </a:solidFill>
                <a:latin typeface="Aptos"/>
                <a:ea typeface="Lato Medium"/>
                <a:cs typeface="Lato Medium"/>
              </a:rPr>
              <a:t>Reserve your hotel room at ilpqc.org. </a:t>
            </a:r>
            <a:endParaRPr lang="en-US" sz="2600">
              <a:solidFill>
                <a:schemeClr val="accent3"/>
              </a:solidFill>
              <a:latin typeface="Aptos"/>
            </a:endParaRPr>
          </a:p>
        </p:txBody>
      </p:sp>
      <p:sp>
        <p:nvSpPr>
          <p:cNvPr id="368" name="Google Shape;368;p16"/>
          <p:cNvSpPr txBox="1">
            <a:spLocks noGrp="1"/>
          </p:cNvSpPr>
          <p:nvPr>
            <p:ph type="title" idx="4294967295"/>
          </p:nvPr>
        </p:nvSpPr>
        <p:spPr>
          <a:xfrm>
            <a:off x="8524951" y="2114695"/>
            <a:ext cx="3740990" cy="13255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algn="ctr">
              <a:spcBef>
                <a:spcPts val="0"/>
              </a:spcBef>
              <a:buClr>
                <a:schemeClr val="accent1"/>
              </a:buClr>
              <a:buSzPts val="4000"/>
            </a:pPr>
            <a:r>
              <a:rPr lang="en-US" sz="4400">
                <a:solidFill>
                  <a:schemeClr val="tx1"/>
                </a:solidFill>
                <a:latin typeface="Aptos"/>
                <a:ea typeface="Lato Medium"/>
                <a:cs typeface="Lato Medium"/>
              </a:rPr>
              <a:t>Registration </a:t>
            </a:r>
            <a:br>
              <a:rPr lang="en-US" sz="4400">
                <a:latin typeface="Aptos"/>
                <a:ea typeface="Lato Medium"/>
                <a:cs typeface="Lato Medium"/>
              </a:rPr>
            </a:br>
            <a:r>
              <a:rPr lang="en-US" sz="4400">
                <a:solidFill>
                  <a:schemeClr val="tx1"/>
                </a:solidFill>
                <a:latin typeface="Aptos"/>
                <a:ea typeface="Lato Medium"/>
                <a:cs typeface="Lato Medium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PEN</a:t>
            </a:r>
            <a:r>
              <a:rPr lang="en-US" sz="4400">
                <a:solidFill>
                  <a:schemeClr val="tx1"/>
                </a:solidFill>
                <a:latin typeface="Aptos"/>
                <a:ea typeface="Lato Medium"/>
                <a:cs typeface="Lato Medium"/>
              </a:rPr>
              <a:t>!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821" y="1039061"/>
            <a:ext cx="7736370" cy="4334004"/>
          </a:xfrm>
          <a:prstGeom prst="rect">
            <a:avLst/>
          </a:prstGeom>
        </p:spPr>
      </p:pic>
      <p:pic>
        <p:nvPicPr>
          <p:cNvPr id="9" name="Picture 8" descr="Pumpkin PNG Transparent Images | PNG All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390" y="4964647"/>
            <a:ext cx="950219" cy="818550"/>
          </a:xfrm>
          <a:prstGeom prst="rect">
            <a:avLst/>
          </a:prstGeom>
        </p:spPr>
      </p:pic>
      <p:pic>
        <p:nvPicPr>
          <p:cNvPr id="10" name="Picture 9" descr="Pumpkin PNG Transparent Images | PNG All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131" y="459640"/>
            <a:ext cx="950219" cy="818550"/>
          </a:xfrm>
          <a:prstGeom prst="rect">
            <a:avLst/>
          </a:prstGeom>
        </p:spPr>
      </p:pic>
      <p:pic>
        <p:nvPicPr>
          <p:cNvPr id="2" name="Picture 1" descr="Pumpkin PNG Transparent Images | PNG All">
            <a:extLst>
              <a:ext uri="{FF2B5EF4-FFF2-40B4-BE49-F238E27FC236}">
                <a16:creationId xmlns:a16="http://schemas.microsoft.com/office/drawing/2014/main" id="{764EA338-2370-F4FB-3953-4E87EDC1D81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7399" y="4964647"/>
            <a:ext cx="950219" cy="818550"/>
          </a:xfrm>
          <a:prstGeom prst="rect">
            <a:avLst/>
          </a:prstGeom>
        </p:spPr>
      </p:pic>
      <p:pic>
        <p:nvPicPr>
          <p:cNvPr id="4" name="Picture 3" descr="Pumpkin PNG Transparent Images | PNG All">
            <a:extLst>
              <a:ext uri="{FF2B5EF4-FFF2-40B4-BE49-F238E27FC236}">
                <a16:creationId xmlns:a16="http://schemas.microsoft.com/office/drawing/2014/main" id="{1F70F1B1-C10A-CCC3-C917-30E95F18704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8670" y="624827"/>
            <a:ext cx="950219" cy="81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08459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t>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" y="3068262"/>
            <a:ext cx="4657725" cy="253365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8" name="Google Shape;368;p16"/>
          <p:cNvSpPr txBox="1">
            <a:spLocks/>
          </p:cNvSpPr>
          <p:nvPr/>
        </p:nvSpPr>
        <p:spPr>
          <a:xfrm>
            <a:off x="5858948" y="1489563"/>
            <a:ext cx="6111378" cy="486156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342900" indent="-342900" algn="ctr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SzPts val="4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3"/>
                </a:solidFill>
                <a:latin typeface="Aptos Display"/>
                <a:ea typeface="Lato Medium"/>
                <a:cs typeface="Lato Medium"/>
              </a:rPr>
              <a:t>Each hospital can send 1 bedside OB </a:t>
            </a:r>
            <a:r>
              <a:rPr lang="en-US" sz="2400" dirty="0">
                <a:solidFill>
                  <a:schemeClr val="tx1"/>
                </a:solidFill>
                <a:latin typeface="Aptos Display"/>
                <a:ea typeface="Lato Medium"/>
                <a:cs typeface="Lato Medium"/>
              </a:rPr>
              <a:t>and</a:t>
            </a:r>
            <a:r>
              <a:rPr lang="en-US" sz="2400" dirty="0">
                <a:solidFill>
                  <a:schemeClr val="accent3"/>
                </a:solidFill>
                <a:latin typeface="Aptos Display"/>
                <a:ea typeface="Lato Medium"/>
                <a:cs typeface="Lato Medium"/>
              </a:rPr>
              <a:t> 1-Neonatal nurse</a:t>
            </a:r>
            <a:r>
              <a:rPr lang="en-US" sz="2400" dirty="0">
                <a:solidFill>
                  <a:schemeClr val="tx1"/>
                </a:solidFill>
                <a:latin typeface="Aptos Display"/>
                <a:ea typeface="Lato Medium"/>
                <a:cs typeface="Lato Medium"/>
              </a:rPr>
              <a:t> to attend the 12</a:t>
            </a:r>
            <a:r>
              <a:rPr lang="en-US" sz="2400" baseline="30000" dirty="0">
                <a:solidFill>
                  <a:schemeClr val="tx1"/>
                </a:solidFill>
                <a:latin typeface="Aptos Display"/>
                <a:ea typeface="Lato Medium"/>
                <a:cs typeface="Lato Medium"/>
              </a:rPr>
              <a:t>th</a:t>
            </a:r>
            <a:r>
              <a:rPr lang="en-US" sz="2400" dirty="0">
                <a:solidFill>
                  <a:schemeClr val="tx1"/>
                </a:solidFill>
                <a:latin typeface="Aptos Display"/>
                <a:ea typeface="Lato Medium"/>
                <a:cs typeface="Lato Medium"/>
              </a:rPr>
              <a:t> Annual Conference in Lombard, IL.</a:t>
            </a:r>
            <a:endParaRPr lang="en-US">
              <a:solidFill>
                <a:schemeClr val="tx1"/>
              </a:solidFill>
              <a:latin typeface="Aptos Display"/>
            </a:endParaRPr>
          </a:p>
          <a:p>
            <a:pPr algn="ctr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SzPts val="4000"/>
            </a:pPr>
            <a:endParaRPr lang="en-US" sz="2400" dirty="0">
              <a:solidFill>
                <a:schemeClr val="tx1"/>
              </a:solidFill>
              <a:latin typeface="Aptos Display"/>
              <a:ea typeface="Lato Medium"/>
              <a:cs typeface="Lato Medium"/>
            </a:endParaRPr>
          </a:p>
          <a:p>
            <a:pPr marL="342900" indent="-342900" algn="ctr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SzPts val="4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  <a:latin typeface="Aptos Display"/>
                <a:ea typeface="Lato Medium"/>
                <a:cs typeface="Lato Medium"/>
              </a:rPr>
              <a:t>Discounted registration &amp; 1-night hotel stay provided.</a:t>
            </a:r>
          </a:p>
          <a:p>
            <a:pPr marL="342900" indent="-342900" algn="ctr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SzPts val="4000"/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tx1"/>
              </a:solidFill>
              <a:latin typeface="Aptos Display"/>
              <a:ea typeface="Lato Medium"/>
              <a:cs typeface="Lato Medium"/>
            </a:endParaRPr>
          </a:p>
          <a:p>
            <a:pPr marL="342900" indent="-342900" algn="ctr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SzPts val="4000"/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tx1"/>
              </a:solidFill>
              <a:latin typeface="Aptos Display"/>
            </a:endParaRPr>
          </a:p>
          <a:p>
            <a:pPr marL="342900" indent="-342900" algn="ctr">
              <a:spcBef>
                <a:spcPts val="0"/>
              </a:spcBef>
              <a:buClr>
                <a:schemeClr val="accent1"/>
              </a:buClr>
              <a:buSzPts val="4000"/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tx1"/>
              </a:solidFill>
              <a:latin typeface="Aptos Display"/>
              <a:ea typeface="Lato Medium"/>
              <a:cs typeface="Lato Medium"/>
            </a:endParaRPr>
          </a:p>
        </p:txBody>
      </p:sp>
      <p:pic>
        <p:nvPicPr>
          <p:cNvPr id="9" name="Picture 8" descr="Pumpkin PNG Transparent Images | PNG All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4181" y="1820242"/>
            <a:ext cx="950219" cy="81855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50C8D749-49B2-A007-8DFF-3F8E29AB2FD0}"/>
              </a:ext>
            </a:extLst>
          </p:cNvPr>
          <p:cNvSpPr txBox="1">
            <a:spLocks/>
          </p:cNvSpPr>
          <p:nvPr/>
        </p:nvSpPr>
        <p:spPr>
          <a:xfrm>
            <a:off x="640080" y="325369"/>
            <a:ext cx="5422053" cy="1956841"/>
          </a:xfrm>
          <a:prstGeom prst="rect">
            <a:avLst/>
          </a:prstGeom>
        </p:spPr>
        <p:txBody>
          <a:bodyPr lIns="91440" tIns="45720" rIns="91440" bIns="45720" anchor="b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4200" dirty="0">
                <a:solidFill>
                  <a:schemeClr val="accent3"/>
                </a:solidFill>
                <a:latin typeface="Aptos Display"/>
                <a:ea typeface="Lato Medium"/>
                <a:cs typeface="Lato Medium"/>
              </a:rPr>
              <a:t>ILPQC Bedside Nurse Scholarship Opportunity </a:t>
            </a:r>
            <a:endParaRPr lang="en-US" sz="4200">
              <a:solidFill>
                <a:schemeClr val="accent3"/>
              </a:solidFill>
              <a:latin typeface="Aptos Display"/>
            </a:endParaRPr>
          </a:p>
        </p:txBody>
      </p:sp>
    </p:spTree>
    <p:extLst>
      <p:ext uri="{BB962C8B-B14F-4D97-AF65-F5344CB8AC3E}">
        <p14:creationId xmlns:p14="http://schemas.microsoft.com/office/powerpoint/2010/main" val="29796970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t>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7" name="Picture 6" descr="Woman holding a small baby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349260" y="2521922"/>
            <a:ext cx="2803047" cy="14984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8" name="Google Shape;368;p16"/>
          <p:cNvSpPr txBox="1">
            <a:spLocks/>
          </p:cNvSpPr>
          <p:nvPr/>
        </p:nvSpPr>
        <p:spPr>
          <a:xfrm>
            <a:off x="5858948" y="1489563"/>
            <a:ext cx="6111378" cy="486156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algn="ctr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SzPts val="4000"/>
            </a:pPr>
            <a:r>
              <a:rPr lang="en-US" sz="2800" dirty="0">
                <a:solidFill>
                  <a:schemeClr val="accent3"/>
                </a:solidFill>
                <a:latin typeface="Aptos Display"/>
                <a:ea typeface="Lato Medium"/>
                <a:cs typeface="Lato Medium"/>
              </a:rPr>
              <a:t>ILPQC Patient Partners working with an ILPQC hospital are invited</a:t>
            </a:r>
            <a:r>
              <a:rPr lang="en-US" sz="2800" dirty="0">
                <a:solidFill>
                  <a:schemeClr val="tx1"/>
                </a:solidFill>
                <a:latin typeface="Aptos Display"/>
                <a:ea typeface="Lato Medium"/>
                <a:cs typeface="Lato Medium"/>
              </a:rPr>
              <a:t> to attend the  12</a:t>
            </a:r>
            <a:r>
              <a:rPr lang="en-US" sz="2800" baseline="30000" dirty="0">
                <a:solidFill>
                  <a:schemeClr val="tx1"/>
                </a:solidFill>
                <a:latin typeface="Aptos Display"/>
                <a:ea typeface="Lato Medium"/>
                <a:cs typeface="Lato Medium"/>
              </a:rPr>
              <a:t>th</a:t>
            </a:r>
            <a:r>
              <a:rPr lang="en-US" sz="2800" dirty="0">
                <a:solidFill>
                  <a:schemeClr val="tx1"/>
                </a:solidFill>
                <a:latin typeface="Aptos Display"/>
                <a:ea typeface="Lato Medium"/>
                <a:cs typeface="Lato Medium"/>
              </a:rPr>
              <a:t> Annual Conference in Lombard, IL.</a:t>
            </a:r>
            <a:endParaRPr lang="en-US" sz="2800" b="0">
              <a:solidFill>
                <a:schemeClr val="tx1"/>
              </a:solidFill>
              <a:latin typeface="Aptos Display"/>
            </a:endParaRPr>
          </a:p>
          <a:p>
            <a:pPr algn="ctr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SzPts val="4000"/>
            </a:pPr>
            <a:endParaRPr lang="en-US" sz="2400" dirty="0">
              <a:solidFill>
                <a:schemeClr val="tx1"/>
              </a:solidFill>
              <a:latin typeface="Aptos Display"/>
              <a:ea typeface="Lato Medium"/>
              <a:cs typeface="Lato Medium"/>
            </a:endParaRPr>
          </a:p>
          <a:p>
            <a:pPr marL="342900" indent="-342900" algn="ctr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SzPts val="4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  <a:latin typeface="Aptos Display"/>
                <a:ea typeface="Lato Medium"/>
                <a:cs typeface="Lato Medium"/>
              </a:rPr>
              <a:t>FREE Registration and 1-night Hotel stay will be provided.</a:t>
            </a:r>
          </a:p>
          <a:p>
            <a:pPr marL="342900" indent="-342900" algn="ctr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SzPts val="4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  <a:latin typeface="Aptos Display"/>
                <a:ea typeface="Lato Medium"/>
                <a:cs typeface="Lato Medium"/>
              </a:rPr>
              <a:t>Email </a:t>
            </a:r>
            <a:r>
              <a:rPr lang="en-US" sz="2400" dirty="0">
                <a:solidFill>
                  <a:schemeClr val="tx1"/>
                </a:solidFill>
                <a:latin typeface="Aptos Display"/>
                <a:ea typeface="+mj-lt"/>
                <a:cs typeface="+mj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davis3@northshore.org</a:t>
            </a:r>
            <a:r>
              <a:rPr lang="en-US" sz="2400" dirty="0">
                <a:solidFill>
                  <a:schemeClr val="tx1"/>
                </a:solidFill>
                <a:latin typeface="Aptos Display"/>
                <a:ea typeface="+mj-lt"/>
                <a:cs typeface="+mj-lt"/>
              </a:rPr>
              <a:t> to register</a:t>
            </a:r>
          </a:p>
          <a:p>
            <a:pPr marL="342900" indent="-342900" algn="ctr">
              <a:spcBef>
                <a:spcPts val="0"/>
              </a:spcBef>
              <a:buClr>
                <a:schemeClr val="accent1"/>
              </a:buClr>
              <a:buSzPts val="4000"/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tx1"/>
              </a:solidFill>
              <a:latin typeface="Aptos Display"/>
              <a:ea typeface="Lato Medium"/>
              <a:cs typeface="Lato Medium"/>
            </a:endParaRPr>
          </a:p>
        </p:txBody>
      </p:sp>
      <p:pic>
        <p:nvPicPr>
          <p:cNvPr id="9" name="Picture 8" descr="Pumpkin PNG Transparent Images | PNG All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90483" y="1403298"/>
            <a:ext cx="950219" cy="81855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50C8D749-49B2-A007-8DFF-3F8E29AB2FD0}"/>
              </a:ext>
            </a:extLst>
          </p:cNvPr>
          <p:cNvSpPr txBox="1">
            <a:spLocks/>
          </p:cNvSpPr>
          <p:nvPr/>
        </p:nvSpPr>
        <p:spPr>
          <a:xfrm>
            <a:off x="668835" y="267860"/>
            <a:ext cx="5422053" cy="1956841"/>
          </a:xfrm>
          <a:prstGeom prst="rect">
            <a:avLst/>
          </a:prstGeom>
        </p:spPr>
        <p:txBody>
          <a:bodyPr lIns="91440" tIns="45720" rIns="91440" bIns="45720" anchor="b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4200" dirty="0">
                <a:solidFill>
                  <a:schemeClr val="accent3"/>
                </a:solidFill>
                <a:latin typeface="Aptos Display"/>
                <a:ea typeface="Lato Medium"/>
                <a:cs typeface="Lato Medium"/>
              </a:rPr>
              <a:t>ILPQC Patient Partner Opportunity </a:t>
            </a:r>
            <a:endParaRPr lang="en-US" sz="4200" dirty="0">
              <a:solidFill>
                <a:schemeClr val="accent3"/>
              </a:solidFill>
              <a:latin typeface="Aptos Display"/>
            </a:endParaRPr>
          </a:p>
        </p:txBody>
      </p:sp>
      <p:pic>
        <p:nvPicPr>
          <p:cNvPr id="4" name="Picture 3" descr="People playing with happy baby">
            <a:extLst>
              <a:ext uri="{FF2B5EF4-FFF2-40B4-BE49-F238E27FC236}">
                <a16:creationId xmlns:a16="http://schemas.microsoft.com/office/drawing/2014/main" id="{2091B90D-FF3D-CEB2-835D-CCDB95E2490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3850" y="4038503"/>
            <a:ext cx="3493698" cy="231782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7394552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 panose="020B00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Street Maps Minitheme by Slidesgo">
  <a:themeElements>
    <a:clrScheme name="Simple Light">
      <a:dk1>
        <a:srgbClr val="424245"/>
      </a:dk1>
      <a:lt1>
        <a:srgbClr val="FFFFFF"/>
      </a:lt1>
      <a:dk2>
        <a:srgbClr val="F6EFEC"/>
      </a:dk2>
      <a:lt2>
        <a:srgbClr val="CEDFA6"/>
      </a:lt2>
      <a:accent1>
        <a:srgbClr val="B1C8F1"/>
      </a:accent1>
      <a:accent2>
        <a:srgbClr val="F5DD35"/>
      </a:accent2>
      <a:accent3>
        <a:srgbClr val="7BD231"/>
      </a:accent3>
      <a:accent4>
        <a:srgbClr val="2B4CDA"/>
      </a:accent4>
      <a:accent5>
        <a:srgbClr val="9400CE"/>
      </a:accent5>
      <a:accent6>
        <a:srgbClr val="EC0000"/>
      </a:accent6>
      <a:hlink>
        <a:srgbClr val="000000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Endeavour Health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35FF8"/>
      </a:accent1>
      <a:accent2>
        <a:srgbClr val="0B1B42"/>
      </a:accent2>
      <a:accent3>
        <a:srgbClr val="E1F5FC"/>
      </a:accent3>
      <a:accent4>
        <a:srgbClr val="F15624"/>
      </a:accent4>
      <a:accent5>
        <a:srgbClr val="FFCF30"/>
      </a:accent5>
      <a:accent6>
        <a:srgbClr val="56668C"/>
      </a:accent6>
      <a:hlink>
        <a:srgbClr val="235FF8"/>
      </a:hlink>
      <a:folHlink>
        <a:srgbClr val="56668C"/>
      </a:folHlink>
    </a:clrScheme>
    <a:fontScheme name="Test">
      <a:majorFont>
        <a:latin typeface="Franklin Gothic Book"/>
        <a:ea typeface=""/>
        <a:cs typeface=""/>
      </a:majorFont>
      <a:minorFont>
        <a:latin typeface="Franklin Gothic Book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487</Words>
  <Application>Microsoft Macintosh PowerPoint</Application>
  <PresentationFormat>Widescreen</PresentationFormat>
  <Paragraphs>384</Paragraphs>
  <Slides>49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2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78" baseType="lpstr">
      <vt:lpstr>Aptos</vt:lpstr>
      <vt:lpstr>Aptos Display</vt:lpstr>
      <vt:lpstr>Arial</vt:lpstr>
      <vt:lpstr>barlow medium</vt:lpstr>
      <vt:lpstr>barlow medium</vt:lpstr>
      <vt:lpstr>Bebas Neue</vt:lpstr>
      <vt:lpstr>Bierstadt Display</vt:lpstr>
      <vt:lpstr>Calibri</vt:lpstr>
      <vt:lpstr>Canva Sans 2 Bold</vt:lpstr>
      <vt:lpstr>Carlito</vt:lpstr>
      <vt:lpstr>Cavolini</vt:lpstr>
      <vt:lpstr>Courier New</vt:lpstr>
      <vt:lpstr>Courier New,monospace</vt:lpstr>
      <vt:lpstr>Darker Grotesque SemiBold</vt:lpstr>
      <vt:lpstr>DM Sans</vt:lpstr>
      <vt:lpstr>Etna Sans Serif</vt:lpstr>
      <vt:lpstr>Franklin Gothic Book</vt:lpstr>
      <vt:lpstr>Franklin Gothic Medium</vt:lpstr>
      <vt:lpstr>Helvetica Neue Medium</vt:lpstr>
      <vt:lpstr>Kollektif Bold</vt:lpstr>
      <vt:lpstr>Lato Medium</vt:lpstr>
      <vt:lpstr>Times New Roman</vt:lpstr>
      <vt:lpstr>Verdana</vt:lpstr>
      <vt:lpstr>Wingdings</vt:lpstr>
      <vt:lpstr>office theme</vt:lpstr>
      <vt:lpstr>1_Office Theme</vt:lpstr>
      <vt:lpstr>Street Maps Minitheme by Slidesgo</vt:lpstr>
      <vt:lpstr>Office Theme</vt:lpstr>
      <vt:lpstr>think-cell Slide</vt:lpstr>
      <vt:lpstr>Equity and Safe Sleep for Infants  </vt:lpstr>
      <vt:lpstr>ATTENDANCE POLL</vt:lpstr>
      <vt:lpstr>Overview</vt:lpstr>
      <vt:lpstr>ESSI ABP MOC Part IV </vt:lpstr>
      <vt:lpstr>PowerPoint Presentation</vt:lpstr>
      <vt:lpstr>Annual Conference</vt:lpstr>
      <vt:lpstr>Registration  OPEN!</vt:lpstr>
      <vt:lpstr>PowerPoint Presentation</vt:lpstr>
      <vt:lpstr>PowerPoint Presentation</vt:lpstr>
      <vt:lpstr>Upcoming Annual Conference Prep</vt:lpstr>
      <vt:lpstr>PowerPoint Presentation</vt:lpstr>
      <vt:lpstr>PowerPoint Presentation</vt:lpstr>
      <vt:lpstr>PowerPoint Presentation</vt:lpstr>
      <vt:lpstr>ESSI Aims and Measures</vt:lpstr>
      <vt:lpstr>ESSI Initiative Aims</vt:lpstr>
      <vt:lpstr>PowerPoint Presentation</vt:lpstr>
      <vt:lpstr>Key Driver Diagram</vt:lpstr>
      <vt:lpstr>ESSI Data Review</vt:lpstr>
      <vt:lpstr>PowerPoint Presentation</vt:lpstr>
      <vt:lpstr>PowerPoint Presentation</vt:lpstr>
      <vt:lpstr>PowerPoint Presentation</vt:lpstr>
      <vt:lpstr>PowerPoint Presentation</vt:lpstr>
      <vt:lpstr>SDOH Screening and Integration into the EMR</vt:lpstr>
      <vt:lpstr>OBJECTIVES FOR SDOH SCREENING AND REFERRAL – THE BIG PICTURE</vt:lpstr>
      <vt:lpstr>What are social determinants of health?</vt:lpstr>
      <vt:lpstr>PowerPoint Presentation</vt:lpstr>
      <vt:lpstr>Screening and connecting to resources</vt:lpstr>
      <vt:lpstr>SOCIAL SCREENING TOOL SELECTION</vt:lpstr>
      <vt:lpstr>PowerPoint Presentation</vt:lpstr>
      <vt:lpstr>SCREENING TOOL EXAMPLEs</vt:lpstr>
      <vt:lpstr>SCREENING TOOL EXAMPLES</vt:lpstr>
      <vt:lpstr>Adaptation OF EXISTING SCREENING TOOLs</vt:lpstr>
      <vt:lpstr>PowerPoint Presentation</vt:lpstr>
      <vt:lpstr>PowerPoint Presentation</vt:lpstr>
      <vt:lpstr>PowerPoint Presentation</vt:lpstr>
      <vt:lpstr>Other considerations</vt:lpstr>
      <vt:lpstr>PowerPoint Presentation</vt:lpstr>
      <vt:lpstr>Equitable Safe Sleep Initiative  and  Social Determinants of Health</vt:lpstr>
      <vt:lpstr>Edward Hospital</vt:lpstr>
      <vt:lpstr>SDOH Screening Process</vt:lpstr>
      <vt:lpstr>SDOH Domain or Topic</vt:lpstr>
      <vt:lpstr>SDOH Wheel</vt:lpstr>
      <vt:lpstr>BPA and Documentation</vt:lpstr>
      <vt:lpstr>SDOH Resources</vt:lpstr>
      <vt:lpstr>PowerPoint Presentation</vt:lpstr>
      <vt:lpstr>PowerPoint Presentation</vt:lpstr>
      <vt:lpstr>PowerPoint Presentation</vt:lpstr>
      <vt:lpstr>Data Collection Timelines</vt:lpstr>
      <vt:lpstr>Diversity Science Dignity in Pregnancy &amp; Childbirth: Preventing Racial Bias in Perinatal Car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Kiela Karina Moreno</cp:lastModifiedBy>
  <cp:revision>279</cp:revision>
  <dcterms:created xsi:type="dcterms:W3CDTF">2024-08-07T22:21:06Z</dcterms:created>
  <dcterms:modified xsi:type="dcterms:W3CDTF">2024-09-16T18:10:16Z</dcterms:modified>
</cp:coreProperties>
</file>